
<file path=[Content_Types].xml><?xml version="1.0" encoding="utf-8"?>
<Types xmlns="http://schemas.openxmlformats.org/package/2006/content-types">
  <Default Extension="png" ContentType="image/png"/>
  <Default Extension="wmf" ContentType="image/x-wmf"/>
  <Default Extension="rels" ContentType="application/vnd.openxmlformats-package.relationships+xml"/>
  <Default Extension="xml" ContentType="application/xml"/>
  <Default Extension="fntdata" ContentType="application/x-fontdata"/>
  <Default Extension="gif" ContentType="image/gif"/>
  <Default Extension="jp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media/image13.jpg" ContentType="image/jpeg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embedTrueTypeFonts="1" saveSubsetFonts="1">
  <p:sldMasterIdLst>
    <p:sldMasterId id="2147483648" r:id="rId1"/>
  </p:sldMasterIdLst>
  <p:notesMasterIdLst>
    <p:notesMasterId r:id="rId22"/>
  </p:notesMasterIdLst>
  <p:sldIdLst>
    <p:sldId id="266" r:id="rId2"/>
    <p:sldId id="276" r:id="rId3"/>
    <p:sldId id="384" r:id="rId4"/>
    <p:sldId id="368" r:id="rId5"/>
    <p:sldId id="385" r:id="rId6"/>
    <p:sldId id="386" r:id="rId7"/>
    <p:sldId id="387" r:id="rId8"/>
    <p:sldId id="388" r:id="rId9"/>
    <p:sldId id="389" r:id="rId10"/>
    <p:sldId id="390" r:id="rId11"/>
    <p:sldId id="391" r:id="rId12"/>
    <p:sldId id="392" r:id="rId13"/>
    <p:sldId id="393" r:id="rId14"/>
    <p:sldId id="394" r:id="rId15"/>
    <p:sldId id="395" r:id="rId16"/>
    <p:sldId id="396" r:id="rId17"/>
    <p:sldId id="397" r:id="rId18"/>
    <p:sldId id="398" r:id="rId19"/>
    <p:sldId id="399" r:id="rId20"/>
    <p:sldId id="400" r:id="rId21"/>
  </p:sldIdLst>
  <p:sldSz cx="9144000" cy="6858000" type="screen4x3"/>
  <p:notesSz cx="6858000" cy="9144000"/>
  <p:embeddedFontLst>
    <p:embeddedFont>
      <p:font typeface="배달의민족 한나" panose="02000503000000020003" pitchFamily="2" charset="-127"/>
      <p:regular r:id="rId23"/>
    </p:embeddedFont>
    <p:embeddedFont>
      <p:font typeface="맑은 고딕" panose="020B0503020000020004" pitchFamily="50" charset="-127"/>
      <p:regular r:id="rId24"/>
      <p:bold r:id="rId25"/>
    </p:embeddedFont>
    <p:embeddedFont>
      <p:font typeface="나눔고딕" panose="020B0600000101010101" charset="-127"/>
      <p:regular r:id="rId26"/>
      <p:bold r:id="rId27"/>
    </p:embeddedFont>
    <p:embeddedFont>
      <p:font typeface="나눔바른고딕" panose="020B0603020101020101" pitchFamily="50" charset="-127"/>
      <p:regular r:id="rId28"/>
      <p:bold r:id="rId29"/>
    </p:embeddedFont>
    <p:embeddedFont>
      <p:font typeface="나눔고딕 ExtraBold" panose="020B0600000101010101" charset="-127"/>
      <p:bold r:id="rId30"/>
    </p:embeddedFont>
  </p:embeddedFontLst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85D8A"/>
    <a:srgbClr val="383637"/>
    <a:srgbClr val="EBE9EC"/>
    <a:srgbClr val="EE3338"/>
    <a:srgbClr val="393738"/>
    <a:srgbClr val="99FF33"/>
    <a:srgbClr val="EB1C27"/>
    <a:srgbClr val="FF6E57"/>
    <a:srgbClr val="FFCC00"/>
    <a:srgbClr val="3B589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750" autoAdjust="0"/>
    <p:restoredTop sz="90553" autoAdjust="0"/>
  </p:normalViewPr>
  <p:slideViewPr>
    <p:cSldViewPr>
      <p:cViewPr varScale="1">
        <p:scale>
          <a:sx n="91" d="100"/>
          <a:sy n="91" d="100"/>
        </p:scale>
        <p:origin x="1320" y="7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font" Target="fonts/font4.fntdata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font" Target="fonts/font3.fntdata"/><Relationship Id="rId33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font" Target="fonts/font7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2.fntdata"/><Relationship Id="rId32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font" Target="fonts/font1.fntdata"/><Relationship Id="rId28" Type="http://schemas.openxmlformats.org/officeDocument/2006/relationships/font" Target="fonts/font6.fntdata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Relationship Id="rId27" Type="http://schemas.openxmlformats.org/officeDocument/2006/relationships/font" Target="fonts/font5.fntdata"/><Relationship Id="rId30" Type="http://schemas.openxmlformats.org/officeDocument/2006/relationships/font" Target="fonts/font8.fntdata"/><Relationship Id="rId8" Type="http://schemas.openxmlformats.org/officeDocument/2006/relationships/slide" Target="slides/slide7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4DEB964-3709-4B14-94F3-B1CC2D09B8A8}" type="datetimeFigureOut">
              <a:rPr lang="ko-KR" altLang="en-US" smtClean="0"/>
              <a:t>2017-10-30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C704328-BE88-4E2B-95A6-AA97FDB8D2B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34963363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C704328-BE88-4E2B-95A6-AA97FDB8D2B3}" type="slidenum">
              <a:rPr lang="ko-KR" altLang="en-US" smtClean="0"/>
              <a:t>0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5822246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dirty="0" smtClean="0">
                <a:latin typeface="medium-content-serif-font"/>
              </a:rPr>
              <a:t>음파는 </a:t>
            </a:r>
            <a:r>
              <a:rPr lang="en-US" altLang="ko-KR" dirty="0" smtClean="0">
                <a:latin typeface="medium-content-serif-font"/>
              </a:rPr>
              <a:t>1</a:t>
            </a:r>
            <a:r>
              <a:rPr lang="ko-KR" altLang="en-US" dirty="0" smtClean="0">
                <a:latin typeface="medium-content-serif-font"/>
              </a:rPr>
              <a:t>차원 입니다</a:t>
            </a:r>
            <a:r>
              <a:rPr lang="en-US" altLang="ko-KR" dirty="0" smtClean="0">
                <a:latin typeface="medium-content-serif-font"/>
              </a:rPr>
              <a:t>. </a:t>
            </a:r>
            <a:r>
              <a:rPr lang="ko-KR" altLang="en-US" dirty="0" smtClean="0">
                <a:latin typeface="medium-content-serif-font"/>
              </a:rPr>
              <a:t>시간의 </a:t>
            </a:r>
            <a:r>
              <a:rPr lang="ko-KR" altLang="en-US" dirty="0" err="1" smtClean="0">
                <a:latin typeface="medium-content-serif-font"/>
              </a:rPr>
              <a:t>흐름속</a:t>
            </a:r>
            <a:r>
              <a:rPr lang="ko-KR" altLang="en-US" dirty="0" smtClean="0">
                <a:latin typeface="medium-content-serif-font"/>
              </a:rPr>
              <a:t> 매 순간마다 음파의 높이를 기준으로 한 단일 값을 가집니다</a:t>
            </a:r>
            <a:r>
              <a:rPr lang="en-US" altLang="ko-KR" dirty="0" smtClean="0">
                <a:latin typeface="medium-content-serif-font"/>
              </a:rPr>
              <a:t>. </a:t>
            </a:r>
            <a:r>
              <a:rPr lang="ko-KR" altLang="en-US" dirty="0" smtClean="0">
                <a:latin typeface="medium-content-serif-font"/>
              </a:rPr>
              <a:t>음파의 아주 작은 부분을 확대해서 살펴 보겠습니다</a:t>
            </a:r>
            <a:r>
              <a:rPr lang="en-US" altLang="ko-KR" dirty="0" smtClean="0">
                <a:latin typeface="medium-content-serif-font"/>
              </a:rPr>
              <a:t>:</a:t>
            </a:r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ko-KR" dirty="0" smtClean="0">
              <a:latin typeface="medium-content-serif-font"/>
            </a:endParaRPr>
          </a:p>
          <a:p>
            <a:r>
              <a:rPr lang="ko-KR" altLang="en-US" dirty="0" smtClean="0"/>
              <a:t>이 음파를 숫자로 표현하기 위해서는</a:t>
            </a:r>
            <a:r>
              <a:rPr lang="en-US" altLang="ko-KR" dirty="0" smtClean="0"/>
              <a:t>, </a:t>
            </a:r>
            <a:r>
              <a:rPr lang="ko-KR" altLang="en-US" dirty="0" smtClean="0"/>
              <a:t>파동의 높이를 </a:t>
            </a:r>
            <a:r>
              <a:rPr lang="ko-KR" altLang="en-US" dirty="0" err="1" smtClean="0"/>
              <a:t>등간격의</a:t>
            </a:r>
            <a:r>
              <a:rPr lang="ko-KR" altLang="en-US" dirty="0" smtClean="0"/>
              <a:t> </a:t>
            </a:r>
            <a:r>
              <a:rPr lang="ko-KR" altLang="en-US" dirty="0" err="1" smtClean="0"/>
              <a:t>좌표값으로</a:t>
            </a:r>
            <a:r>
              <a:rPr lang="ko-KR" altLang="en-US" dirty="0" smtClean="0"/>
              <a:t> 저장하면 됩니다</a:t>
            </a:r>
            <a:r>
              <a:rPr lang="en-US" altLang="ko-KR" dirty="0" smtClean="0"/>
              <a:t>:</a:t>
            </a:r>
          </a:p>
          <a:p>
            <a:r>
              <a:rPr lang="ko-KR" altLang="en-US" dirty="0" smtClean="0"/>
              <a:t>시간은 연속된 데이터</a:t>
            </a:r>
            <a:endParaRPr lang="en-US" altLang="ko-KR" dirty="0" smtClean="0"/>
          </a:p>
          <a:p>
            <a:r>
              <a:rPr lang="ko-KR" altLang="en-US" dirty="0" smtClean="0"/>
              <a:t>필요한 것은 샘플링</a:t>
            </a:r>
            <a:r>
              <a:rPr lang="en-US" altLang="ko-KR" dirty="0" smtClean="0"/>
              <a:t>!!!</a:t>
            </a:r>
          </a:p>
          <a:p>
            <a:r>
              <a:rPr lang="en-US" altLang="ko-KR" dirty="0" smtClean="0"/>
              <a:t>(sampling)</a:t>
            </a:r>
          </a:p>
          <a:p>
            <a:endParaRPr lang="ko-KR" altLang="en-US" dirty="0" smtClean="0"/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ko-KR" altLang="en-US" dirty="0" smtClean="0"/>
          </a:p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C704328-BE88-4E2B-95A6-AA97FDB8D2B3}" type="slidenum">
              <a:rPr lang="ko-KR" altLang="en-US" smtClean="0"/>
              <a:t>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6860121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 smtClean="0"/>
              <a:t>마스터 부제목 스타일 편집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CF03C6-1A05-41EC-BC19-02EE946D372F}" type="datetimeFigureOut">
              <a:rPr lang="ko-KR" altLang="en-US" smtClean="0"/>
              <a:pPr/>
              <a:t>2017-10-30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CA98730-F09A-4C42-A685-E3C9564A3C82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CF03C6-1A05-41EC-BC19-02EE946D372F}" type="datetimeFigureOut">
              <a:rPr lang="ko-KR" altLang="en-US" smtClean="0"/>
              <a:pPr/>
              <a:t>2017-10-30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CA98730-F09A-4C42-A685-E3C9564A3C82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CF03C6-1A05-41EC-BC19-02EE946D372F}" type="datetimeFigureOut">
              <a:rPr lang="ko-KR" altLang="en-US" smtClean="0"/>
              <a:pPr/>
              <a:t>2017-10-30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CA98730-F09A-4C42-A685-E3C9564A3C82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CF03C6-1A05-41EC-BC19-02EE946D372F}" type="datetimeFigureOut">
              <a:rPr lang="ko-KR" altLang="en-US" smtClean="0"/>
              <a:pPr/>
              <a:t>2017-10-30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CA98730-F09A-4C42-A685-E3C9564A3C82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CF03C6-1A05-41EC-BC19-02EE946D372F}" type="datetimeFigureOut">
              <a:rPr lang="ko-KR" altLang="en-US" smtClean="0"/>
              <a:pPr/>
              <a:t>2017-10-30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CA98730-F09A-4C42-A685-E3C9564A3C82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CF03C6-1A05-41EC-BC19-02EE946D372F}" type="datetimeFigureOut">
              <a:rPr lang="ko-KR" altLang="en-US" smtClean="0"/>
              <a:pPr/>
              <a:t>2017-10-30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CA98730-F09A-4C42-A685-E3C9564A3C82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7" name="날짜 개체 틀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CF03C6-1A05-41EC-BC19-02EE946D372F}" type="datetimeFigureOut">
              <a:rPr lang="ko-KR" altLang="en-US" smtClean="0"/>
              <a:pPr/>
              <a:t>2017-10-30</a:t>
            </a:fld>
            <a:endParaRPr lang="ko-KR" altLang="en-US"/>
          </a:p>
        </p:txBody>
      </p:sp>
      <p:sp>
        <p:nvSpPr>
          <p:cNvPr id="8" name="바닥글 개체 틀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CA98730-F09A-4C42-A685-E3C9564A3C82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CF03C6-1A05-41EC-BC19-02EE946D372F}" type="datetimeFigureOut">
              <a:rPr lang="ko-KR" altLang="en-US" smtClean="0"/>
              <a:pPr/>
              <a:t>2017-10-30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CA98730-F09A-4C42-A685-E3C9564A3C82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CF03C6-1A05-41EC-BC19-02EE946D372F}" type="datetimeFigureOut">
              <a:rPr lang="ko-KR" altLang="en-US" smtClean="0"/>
              <a:pPr/>
              <a:t>2017-10-30</a:t>
            </a:fld>
            <a:endParaRPr lang="ko-KR" altLang="en-US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CA98730-F09A-4C42-A685-E3C9564A3C82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CF03C6-1A05-41EC-BC19-02EE946D372F}" type="datetimeFigureOut">
              <a:rPr lang="ko-KR" altLang="en-US" smtClean="0"/>
              <a:pPr/>
              <a:t>2017-10-30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CA98730-F09A-4C42-A685-E3C9564A3C82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CF03C6-1A05-41EC-BC19-02EE946D372F}" type="datetimeFigureOut">
              <a:rPr lang="ko-KR" altLang="en-US" smtClean="0"/>
              <a:pPr/>
              <a:t>2017-10-30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CA98730-F09A-4C42-A685-E3C9564A3C82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3CF03C6-1A05-41EC-BC19-02EE946D372F}" type="datetimeFigureOut">
              <a:rPr lang="ko-KR" altLang="en-US" smtClean="0"/>
              <a:pPr/>
              <a:t>2017-10-30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7" name="슬라이드 번호 개체 틀 5"/>
          <p:cNvSpPr txBox="1">
            <a:spLocks/>
          </p:cNvSpPr>
          <p:nvPr userDrawn="1"/>
        </p:nvSpPr>
        <p:spPr>
          <a:xfrm>
            <a:off x="7092280" y="6490544"/>
            <a:ext cx="1928826" cy="2508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800">
                <a:solidFill>
                  <a:schemeClr val="bg1"/>
                </a:solidFill>
                <a:latin typeface="PF Din Text Cond Pro Medium" pitchFamily="2" charset="0"/>
                <a:ea typeface="Rix고딕 M" pitchFamily="18" charset="-127"/>
              </a:defRPr>
            </a:lvl1pPr>
          </a:lstStyle>
          <a:p>
            <a:pPr algn="r">
              <a:defRPr/>
            </a:pPr>
            <a:fld id="{EC0BB0C5-6955-4F9B-BA60-58E2367A55EF}" type="slidenum">
              <a:rPr lang="ko-KR" altLang="en-US" sz="850" smtClean="0">
                <a:solidFill>
                  <a:schemeClr val="tx1">
                    <a:lumMod val="50000"/>
                    <a:lumOff val="50000"/>
                  </a:schemeClr>
                </a:solidFill>
                <a:latin typeface="나눔고딕" pitchFamily="50" charset="-127"/>
                <a:ea typeface="나눔고딕" pitchFamily="50" charset="-127"/>
              </a:rPr>
              <a:pPr algn="r">
                <a:defRPr/>
              </a:pPr>
              <a:t>‹#›</a:t>
            </a:fld>
            <a:endParaRPr lang="ko-KR" altLang="en-US" sz="800" dirty="0">
              <a:solidFill>
                <a:schemeClr val="tx1">
                  <a:lumMod val="50000"/>
                  <a:lumOff val="50000"/>
                </a:schemeClr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1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1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1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5" Type="http://schemas.openxmlformats.org/officeDocument/2006/relationships/image" Target="../media/image9.gif"/><Relationship Id="rId4" Type="http://schemas.openxmlformats.org/officeDocument/2006/relationships/image" Target="../media/image8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4" Type="http://schemas.openxmlformats.org/officeDocument/2006/relationships/hyperlink" Target="https://en.wikipedia.org/wiki/Nyquist%E2%80%93Shannon_sampling_theorem" TargetMode="Externa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4" Type="http://schemas.openxmlformats.org/officeDocument/2006/relationships/image" Target="../media/image12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ko.wikipedia.org/wiki/%ED%95%A8%EC%88%98" TargetMode="Externa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5" Type="http://schemas.openxmlformats.org/officeDocument/2006/relationships/image" Target="../media/image13.jpg"/><Relationship Id="rId4" Type="http://schemas.openxmlformats.org/officeDocument/2006/relationships/hyperlink" Target="https://ko.wikipedia.org/wiki/%EC%A3%BC%ED%8C%8C%EC%88%98" TargetMode="Externa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4" Type="http://schemas.openxmlformats.org/officeDocument/2006/relationships/image" Target="../media/image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4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직사각형 19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3937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ko-KR" sz="2800" dirty="0">
              <a:solidFill>
                <a:schemeClr val="bg1"/>
              </a:solidFill>
              <a:latin typeface="배달의민족 한나" pitchFamily="2" charset="-127"/>
              <a:ea typeface="배달의민족 한나" pitchFamily="2" charset="-127"/>
            </a:endParaRPr>
          </a:p>
        </p:txBody>
      </p:sp>
      <p:grpSp>
        <p:nvGrpSpPr>
          <p:cNvPr id="82" name="그룹 81"/>
          <p:cNvGrpSpPr/>
          <p:nvPr/>
        </p:nvGrpSpPr>
        <p:grpSpPr>
          <a:xfrm>
            <a:off x="179512" y="188640"/>
            <a:ext cx="8856984" cy="72008"/>
            <a:chOff x="179512" y="188640"/>
            <a:chExt cx="8856984" cy="72008"/>
          </a:xfrm>
        </p:grpSpPr>
        <p:cxnSp>
          <p:nvCxnSpPr>
            <p:cNvPr id="74" name="직선 연결선 73"/>
            <p:cNvCxnSpPr/>
            <p:nvPr/>
          </p:nvCxnSpPr>
          <p:spPr>
            <a:xfrm>
              <a:off x="179512" y="188640"/>
              <a:ext cx="8856984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직선 연결선 77"/>
            <p:cNvCxnSpPr/>
            <p:nvPr/>
          </p:nvCxnSpPr>
          <p:spPr>
            <a:xfrm>
              <a:off x="179512" y="260648"/>
              <a:ext cx="8856984" cy="0"/>
            </a:xfrm>
            <a:prstGeom prst="line">
              <a:avLst/>
            </a:prstGeom>
            <a:ln w="381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1" name="그룹 80"/>
          <p:cNvGrpSpPr/>
          <p:nvPr/>
        </p:nvGrpSpPr>
        <p:grpSpPr>
          <a:xfrm>
            <a:off x="179512" y="6597352"/>
            <a:ext cx="8856984" cy="72008"/>
            <a:chOff x="179512" y="6597352"/>
            <a:chExt cx="8856984" cy="72008"/>
          </a:xfrm>
        </p:grpSpPr>
        <p:cxnSp>
          <p:nvCxnSpPr>
            <p:cNvPr id="79" name="직선 연결선 78"/>
            <p:cNvCxnSpPr/>
            <p:nvPr/>
          </p:nvCxnSpPr>
          <p:spPr>
            <a:xfrm>
              <a:off x="179512" y="6669360"/>
              <a:ext cx="8856984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직선 연결선 79"/>
            <p:cNvCxnSpPr/>
            <p:nvPr/>
          </p:nvCxnSpPr>
          <p:spPr>
            <a:xfrm>
              <a:off x="179512" y="6597352"/>
              <a:ext cx="8856984" cy="0"/>
            </a:xfrm>
            <a:prstGeom prst="line">
              <a:avLst/>
            </a:prstGeom>
            <a:ln w="381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21"/>
          <p:cNvSpPr txBox="1"/>
          <p:nvPr/>
        </p:nvSpPr>
        <p:spPr>
          <a:xfrm>
            <a:off x="7092280" y="5085184"/>
            <a:ext cx="165618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4400" dirty="0" smtClean="0">
                <a:solidFill>
                  <a:schemeClr val="bg1"/>
                </a:solidFill>
                <a:latin typeface="배달의민족 한나" pitchFamily="2" charset="-127"/>
                <a:ea typeface="배달의민족 한나" pitchFamily="2" charset="-127"/>
              </a:rPr>
              <a:t> </a:t>
            </a:r>
            <a:r>
              <a:rPr lang="ko-KR" altLang="en-US" sz="4400" dirty="0" smtClean="0">
                <a:solidFill>
                  <a:schemeClr val="bg1"/>
                </a:solidFill>
                <a:latin typeface="배달의민족 한나" pitchFamily="2" charset="-127"/>
                <a:ea typeface="배달의민족 한나" pitchFamily="2" charset="-127"/>
              </a:rPr>
              <a:t>김혁</a:t>
            </a:r>
            <a:endParaRPr lang="ko-KR" altLang="en-US" sz="4400" dirty="0">
              <a:solidFill>
                <a:schemeClr val="bg1"/>
              </a:solidFill>
              <a:latin typeface="배달의민족 한나" pitchFamily="2" charset="-127"/>
              <a:ea typeface="배달의민족 한나" pitchFamily="2" charset="-127"/>
            </a:endParaRPr>
          </a:p>
        </p:txBody>
      </p:sp>
      <p:sp>
        <p:nvSpPr>
          <p:cNvPr id="2" name="직사각형 1"/>
          <p:cNvSpPr/>
          <p:nvPr/>
        </p:nvSpPr>
        <p:spPr>
          <a:xfrm>
            <a:off x="154477" y="6156012"/>
            <a:ext cx="140775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fld id="{19892C6F-AC9C-47C6-B64D-CBD210D0704D}" type="datetime1">
              <a:rPr lang="ko-KR" altLang="en-US" smtClean="0">
                <a:solidFill>
                  <a:schemeClr val="bg1"/>
                </a:solidFill>
                <a:latin typeface="배달의민족 한나" pitchFamily="2" charset="-127"/>
                <a:ea typeface="배달의민족 한나" pitchFamily="2" charset="-127"/>
              </a:rPr>
              <a:t>2017-10-30</a:t>
            </a:fld>
            <a:endParaRPr lang="ko-KR" altLang="en-US" dirty="0">
              <a:solidFill>
                <a:schemeClr val="bg1"/>
              </a:solidFill>
              <a:latin typeface="배달의민족 한나" pitchFamily="2" charset="-127"/>
              <a:ea typeface="배달의민족 한나" pitchFamily="2" charset="-127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835696" y="2936557"/>
            <a:ext cx="554461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4400" dirty="0" smtClean="0">
                <a:solidFill>
                  <a:schemeClr val="bg1"/>
                </a:solidFill>
                <a:latin typeface="배달의민족 한나" pitchFamily="2" charset="-127"/>
                <a:ea typeface="배달의민족 한나" pitchFamily="2" charset="-127"/>
              </a:rPr>
              <a:t>Acoustic Phonetic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직선 연결선 3"/>
          <p:cNvCxnSpPr/>
          <p:nvPr/>
        </p:nvCxnSpPr>
        <p:spPr>
          <a:xfrm>
            <a:off x="179512" y="236354"/>
            <a:ext cx="446400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/>
          <p:cNvSpPr txBox="1">
            <a:spLocks noChangeArrowheads="1"/>
          </p:cNvSpPr>
          <p:nvPr/>
        </p:nvSpPr>
        <p:spPr bwMode="auto">
          <a:xfrm>
            <a:off x="35496" y="182250"/>
            <a:ext cx="2736304" cy="144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42900" indent="-342900"/>
            <a:r>
              <a:rPr lang="en-US" altLang="ko-KR" sz="8800" dirty="0">
                <a:solidFill>
                  <a:srgbClr val="393738"/>
                </a:solidFill>
                <a:latin typeface="나눔고딕 ExtraBold" pitchFamily="50" charset="-127"/>
                <a:ea typeface="나눔고딕 ExtraBold" pitchFamily="50" charset="-127"/>
              </a:rPr>
              <a:t>2</a:t>
            </a:r>
            <a:endParaRPr lang="en-US" altLang="ko-KR" sz="8800" dirty="0" smtClean="0">
              <a:solidFill>
                <a:srgbClr val="393738"/>
              </a:solidFill>
              <a:latin typeface="나눔고딕 ExtraBold" pitchFamily="50" charset="-127"/>
              <a:ea typeface="나눔고딕 ExtraBold" pitchFamily="50" charset="-127"/>
            </a:endParaRPr>
          </a:p>
        </p:txBody>
      </p:sp>
      <p:cxnSp>
        <p:nvCxnSpPr>
          <p:cNvPr id="6" name="직선 연결선 5"/>
          <p:cNvCxnSpPr/>
          <p:nvPr/>
        </p:nvCxnSpPr>
        <p:spPr>
          <a:xfrm>
            <a:off x="179512" y="1556792"/>
            <a:ext cx="446400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25"/>
          <p:cNvSpPr txBox="1">
            <a:spLocks noChangeArrowheads="1"/>
          </p:cNvSpPr>
          <p:nvPr/>
        </p:nvSpPr>
        <p:spPr bwMode="auto">
          <a:xfrm>
            <a:off x="179512" y="1685074"/>
            <a:ext cx="18002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42900" indent="-342900" algn="ctr"/>
            <a:r>
              <a:rPr lang="en-US" altLang="ko-KR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□ </a:t>
            </a:r>
            <a:r>
              <a:rPr lang="en-US" altLang="ko-KR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배달의민족 한나" pitchFamily="2" charset="-127"/>
                <a:ea typeface="배달의민족 한나" pitchFamily="2" charset="-127"/>
              </a:rPr>
              <a:t>Sampling </a:t>
            </a:r>
            <a:endParaRPr lang="ko-KR" altLang="en-US" sz="2400" dirty="0" smtClean="0">
              <a:solidFill>
                <a:schemeClr val="tx1">
                  <a:lumMod val="75000"/>
                  <a:lumOff val="25000"/>
                </a:schemeClr>
              </a:solidFill>
              <a:latin typeface="배달의민족 한나" pitchFamily="2" charset="-127"/>
              <a:ea typeface="배달의민족 한나" pitchFamily="2" charset="-127"/>
            </a:endParaRPr>
          </a:p>
        </p:txBody>
      </p:sp>
      <p:sp>
        <p:nvSpPr>
          <p:cNvPr id="21" name="TextBox 25"/>
          <p:cNvSpPr txBox="1">
            <a:spLocks noChangeArrowheads="1"/>
          </p:cNvSpPr>
          <p:nvPr/>
        </p:nvSpPr>
        <p:spPr bwMode="auto">
          <a:xfrm>
            <a:off x="827584" y="908720"/>
            <a:ext cx="4176464" cy="3103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t">
            <a:spAutoFit/>
          </a:bodyPr>
          <a:lstStyle/>
          <a:p>
            <a:pPr marL="342900" indent="-342900">
              <a:lnSpc>
                <a:spcPts val="1700"/>
              </a:lnSpc>
            </a:pPr>
            <a:r>
              <a:rPr lang="en-US" altLang="ko-KR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바른고딕" pitchFamily="50" charset="-127"/>
                <a:ea typeface="나눔바른고딕" pitchFamily="50" charset="-127"/>
              </a:rPr>
              <a:t>Overview</a:t>
            </a:r>
            <a:endParaRPr lang="en-US" altLang="ko-KR" sz="1400" dirty="0">
              <a:solidFill>
                <a:schemeClr val="tx1">
                  <a:lumMod val="65000"/>
                  <a:lumOff val="35000"/>
                </a:schemeClr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17" name="Rectangle 3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95536" y="2238148"/>
            <a:ext cx="8352928" cy="41143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72000" tIns="0" rIns="0" bIns="0"/>
          <a:lstStyle/>
          <a:p>
            <a:pPr marL="85725">
              <a:lnSpc>
                <a:spcPct val="150000"/>
              </a:lnSpc>
              <a:spcAft>
                <a:spcPct val="20000"/>
              </a:spcAft>
              <a:defRPr/>
            </a:pPr>
            <a:endParaRPr kumimoji="0" lang="en-US" altLang="ko-KR" sz="1600" b="1" kern="0" dirty="0">
              <a:ln>
                <a:solidFill>
                  <a:srgbClr val="383637"/>
                </a:solidFill>
              </a:ln>
              <a:latin typeface="+mn-ea"/>
              <a:ea typeface="+mn-ea"/>
            </a:endParaRPr>
          </a:p>
        </p:txBody>
      </p:sp>
      <p:pic>
        <p:nvPicPr>
          <p:cNvPr id="3" name="그림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397684"/>
            <a:ext cx="9144000" cy="2706624"/>
          </a:xfrm>
          <a:prstGeom prst="rect">
            <a:avLst/>
          </a:prstGeom>
        </p:spPr>
      </p:pic>
      <p:grpSp>
        <p:nvGrpSpPr>
          <p:cNvPr id="13" name="그룹 12"/>
          <p:cNvGrpSpPr/>
          <p:nvPr/>
        </p:nvGrpSpPr>
        <p:grpSpPr>
          <a:xfrm>
            <a:off x="3635896" y="2809121"/>
            <a:ext cx="2304752" cy="1949741"/>
            <a:chOff x="3635896" y="2809121"/>
            <a:chExt cx="2304752" cy="1949741"/>
          </a:xfrm>
        </p:grpSpPr>
        <p:sp>
          <p:nvSpPr>
            <p:cNvPr id="12" name="타원 11"/>
            <p:cNvSpPr/>
            <p:nvPr/>
          </p:nvSpPr>
          <p:spPr>
            <a:xfrm>
              <a:off x="4715520" y="2809121"/>
              <a:ext cx="144512" cy="105726"/>
            </a:xfrm>
            <a:prstGeom prst="ellipse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5" name="타원 14"/>
            <p:cNvSpPr/>
            <p:nvPr/>
          </p:nvSpPr>
          <p:spPr>
            <a:xfrm>
              <a:off x="4282976" y="3435714"/>
              <a:ext cx="144512" cy="105726"/>
            </a:xfrm>
            <a:prstGeom prst="ellipse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6" name="타원 15"/>
            <p:cNvSpPr/>
            <p:nvPr/>
          </p:nvSpPr>
          <p:spPr>
            <a:xfrm>
              <a:off x="5020320" y="3113921"/>
              <a:ext cx="144512" cy="105726"/>
            </a:xfrm>
            <a:prstGeom prst="ellipse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8" name="타원 17"/>
            <p:cNvSpPr/>
            <p:nvPr/>
          </p:nvSpPr>
          <p:spPr>
            <a:xfrm>
              <a:off x="4427488" y="3080826"/>
              <a:ext cx="144512" cy="105726"/>
            </a:xfrm>
            <a:prstGeom prst="ellipse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9" name="타원 18"/>
            <p:cNvSpPr/>
            <p:nvPr/>
          </p:nvSpPr>
          <p:spPr>
            <a:xfrm>
              <a:off x="5180911" y="3466009"/>
              <a:ext cx="144512" cy="105726"/>
            </a:xfrm>
            <a:prstGeom prst="ellipse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0" name="타원 19"/>
            <p:cNvSpPr/>
            <p:nvPr/>
          </p:nvSpPr>
          <p:spPr>
            <a:xfrm>
              <a:off x="3995936" y="4077072"/>
              <a:ext cx="144512" cy="105726"/>
            </a:xfrm>
            <a:prstGeom prst="ellipse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2" name="타원 21"/>
            <p:cNvSpPr/>
            <p:nvPr/>
          </p:nvSpPr>
          <p:spPr>
            <a:xfrm>
              <a:off x="5436096" y="4077072"/>
              <a:ext cx="144512" cy="105726"/>
            </a:xfrm>
            <a:prstGeom prst="ellipse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3" name="타원 22"/>
            <p:cNvSpPr/>
            <p:nvPr/>
          </p:nvSpPr>
          <p:spPr>
            <a:xfrm>
              <a:off x="5796136" y="4437112"/>
              <a:ext cx="144512" cy="105726"/>
            </a:xfrm>
            <a:prstGeom prst="ellipse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4" name="타원 23"/>
            <p:cNvSpPr/>
            <p:nvPr/>
          </p:nvSpPr>
          <p:spPr>
            <a:xfrm>
              <a:off x="3635896" y="4653136"/>
              <a:ext cx="144512" cy="105726"/>
            </a:xfrm>
            <a:prstGeom prst="ellipse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pic>
        <p:nvPicPr>
          <p:cNvPr id="26" name="그림 2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422578"/>
            <a:ext cx="9144000" cy="3520440"/>
          </a:xfrm>
          <a:prstGeom prst="rect">
            <a:avLst/>
          </a:prstGeom>
        </p:spPr>
      </p:pic>
      <p:sp>
        <p:nvSpPr>
          <p:cNvPr id="25" name="TextBox 25"/>
          <p:cNvSpPr txBox="1">
            <a:spLocks noChangeArrowheads="1"/>
          </p:cNvSpPr>
          <p:nvPr/>
        </p:nvSpPr>
        <p:spPr bwMode="auto">
          <a:xfrm>
            <a:off x="755576" y="404664"/>
            <a:ext cx="3168352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42900" indent="-342900"/>
            <a:r>
              <a:rPr lang="ko-KR" altLang="en-US" sz="2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배달의민족 한나" pitchFamily="2" charset="-127"/>
                <a:ea typeface="배달의민족 한나" pitchFamily="2" charset="-127"/>
              </a:rPr>
              <a:t>음성 인식 모델</a:t>
            </a:r>
            <a:endParaRPr lang="en-US" altLang="ko-KR" sz="2800" dirty="0" smtClean="0">
              <a:solidFill>
                <a:srgbClr val="393738"/>
              </a:solidFill>
              <a:latin typeface="배달의민족 한나" pitchFamily="2" charset="-127"/>
              <a:ea typeface="배달의민족 한나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0920080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직선 연결선 3"/>
          <p:cNvCxnSpPr/>
          <p:nvPr/>
        </p:nvCxnSpPr>
        <p:spPr>
          <a:xfrm>
            <a:off x="179512" y="236354"/>
            <a:ext cx="446400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/>
          <p:cNvSpPr txBox="1">
            <a:spLocks noChangeArrowheads="1"/>
          </p:cNvSpPr>
          <p:nvPr/>
        </p:nvSpPr>
        <p:spPr bwMode="auto">
          <a:xfrm>
            <a:off x="35496" y="182250"/>
            <a:ext cx="2736304" cy="144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42900" indent="-342900"/>
            <a:r>
              <a:rPr lang="en-US" altLang="ko-KR" sz="8800" dirty="0">
                <a:solidFill>
                  <a:srgbClr val="393738"/>
                </a:solidFill>
                <a:latin typeface="나눔고딕 ExtraBold" pitchFamily="50" charset="-127"/>
                <a:ea typeface="나눔고딕 ExtraBold" pitchFamily="50" charset="-127"/>
              </a:rPr>
              <a:t>2</a:t>
            </a:r>
            <a:endParaRPr lang="en-US" altLang="ko-KR" sz="8800" dirty="0" smtClean="0">
              <a:solidFill>
                <a:srgbClr val="393738"/>
              </a:solidFill>
              <a:latin typeface="나눔고딕 ExtraBold" pitchFamily="50" charset="-127"/>
              <a:ea typeface="나눔고딕 ExtraBold" pitchFamily="50" charset="-127"/>
            </a:endParaRPr>
          </a:p>
        </p:txBody>
      </p:sp>
      <p:cxnSp>
        <p:nvCxnSpPr>
          <p:cNvPr id="6" name="직선 연결선 5"/>
          <p:cNvCxnSpPr/>
          <p:nvPr/>
        </p:nvCxnSpPr>
        <p:spPr>
          <a:xfrm>
            <a:off x="179512" y="1556792"/>
            <a:ext cx="446400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5"/>
          <p:cNvSpPr txBox="1">
            <a:spLocks noChangeArrowheads="1"/>
          </p:cNvSpPr>
          <p:nvPr/>
        </p:nvSpPr>
        <p:spPr bwMode="auto">
          <a:xfrm>
            <a:off x="827584" y="908720"/>
            <a:ext cx="4176464" cy="3103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t">
            <a:spAutoFit/>
          </a:bodyPr>
          <a:lstStyle/>
          <a:p>
            <a:pPr marL="342900" indent="-342900">
              <a:lnSpc>
                <a:spcPts val="1700"/>
              </a:lnSpc>
            </a:pPr>
            <a:r>
              <a:rPr lang="en-US" altLang="ko-KR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바른고딕" pitchFamily="50" charset="-127"/>
                <a:ea typeface="나눔바른고딕" pitchFamily="50" charset="-127"/>
              </a:rPr>
              <a:t>Overview</a:t>
            </a:r>
            <a:endParaRPr lang="en-US" altLang="ko-KR" sz="1400" dirty="0">
              <a:solidFill>
                <a:schemeClr val="tx1">
                  <a:lumMod val="65000"/>
                  <a:lumOff val="35000"/>
                </a:schemeClr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17" name="Rectangle 3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95536" y="2238148"/>
            <a:ext cx="8352928" cy="41143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72000" tIns="0" rIns="0" bIns="0"/>
          <a:lstStyle/>
          <a:p>
            <a:pPr marL="85725">
              <a:lnSpc>
                <a:spcPct val="150000"/>
              </a:lnSpc>
              <a:spcAft>
                <a:spcPct val="20000"/>
              </a:spcAft>
              <a:defRPr/>
            </a:pPr>
            <a:endParaRPr kumimoji="0" lang="en-US" altLang="ko-KR" sz="1600" b="1" kern="0" dirty="0">
              <a:ln>
                <a:solidFill>
                  <a:srgbClr val="383637"/>
                </a:solidFill>
              </a:ln>
              <a:latin typeface="+mn-ea"/>
              <a:ea typeface="+mn-ea"/>
            </a:endParaRPr>
          </a:p>
        </p:txBody>
      </p:sp>
      <p:sp>
        <p:nvSpPr>
          <p:cNvPr id="11" name="TextBox 25"/>
          <p:cNvSpPr txBox="1">
            <a:spLocks noChangeArrowheads="1"/>
          </p:cNvSpPr>
          <p:nvPr/>
        </p:nvSpPr>
        <p:spPr bwMode="auto">
          <a:xfrm>
            <a:off x="179512" y="1685074"/>
            <a:ext cx="18002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42900" indent="-342900" algn="ctr"/>
            <a:r>
              <a:rPr lang="en-US" altLang="ko-KR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□ </a:t>
            </a:r>
            <a:r>
              <a:rPr lang="en-US" altLang="ko-KR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배달의민족 한나" pitchFamily="2" charset="-127"/>
                <a:ea typeface="배달의민족 한나" pitchFamily="2" charset="-127"/>
              </a:rPr>
              <a:t>Sampling </a:t>
            </a:r>
            <a:endParaRPr lang="ko-KR" altLang="en-US" sz="2400" dirty="0" smtClean="0">
              <a:solidFill>
                <a:schemeClr val="tx1">
                  <a:lumMod val="75000"/>
                  <a:lumOff val="25000"/>
                </a:schemeClr>
              </a:solidFill>
              <a:latin typeface="배달의민족 한나" pitchFamily="2" charset="-127"/>
              <a:ea typeface="배달의민족 한나" pitchFamily="2" charset="-127"/>
            </a:endParaRPr>
          </a:p>
        </p:txBody>
      </p:sp>
      <p:pic>
        <p:nvPicPr>
          <p:cNvPr id="3" name="그림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878" y="2528523"/>
            <a:ext cx="8818245" cy="3774209"/>
          </a:xfrm>
          <a:prstGeom prst="rect">
            <a:avLst/>
          </a:prstGeom>
        </p:spPr>
      </p:pic>
      <p:sp>
        <p:nvSpPr>
          <p:cNvPr id="7" name="직사각형 6"/>
          <p:cNvSpPr/>
          <p:nvPr/>
        </p:nvSpPr>
        <p:spPr>
          <a:xfrm>
            <a:off x="3995936" y="3330939"/>
            <a:ext cx="1080120" cy="139420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2" name="직사각형 11"/>
          <p:cNvSpPr/>
          <p:nvPr/>
        </p:nvSpPr>
        <p:spPr>
          <a:xfrm>
            <a:off x="318827" y="6302732"/>
            <a:ext cx="948208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dirty="0" err="1" smtClean="0">
                <a:latin typeface="medium-content-serif-font"/>
                <a:hlinkClick r:id="rId4"/>
              </a:rPr>
              <a:t>Nyquist</a:t>
            </a:r>
            <a:r>
              <a:rPr lang="en-US" altLang="ko-KR" dirty="0">
                <a:latin typeface="medium-content-serif-font"/>
              </a:rPr>
              <a:t> </a:t>
            </a:r>
            <a:r>
              <a:rPr lang="en-US" altLang="ko-KR" dirty="0">
                <a:latin typeface="medium-content-serif-font"/>
                <a:hlinkClick r:id="rId4"/>
              </a:rPr>
              <a:t>https://</a:t>
            </a:r>
            <a:r>
              <a:rPr lang="en-US" altLang="ko-KR" dirty="0" smtClean="0">
                <a:latin typeface="medium-content-serif-font"/>
                <a:hlinkClick r:id="rId4"/>
              </a:rPr>
              <a:t>en.wikipedia.org/wiki/Nyquist%E2%80%93Shannon_sampling_theorem</a:t>
            </a:r>
            <a:r>
              <a:rPr lang="en-US" altLang="ko-KR" dirty="0" smtClean="0">
                <a:latin typeface="medium-content-serif-font"/>
              </a:rPr>
              <a:t> </a:t>
            </a:r>
            <a:endParaRPr lang="ko-KR" altLang="en-US" dirty="0"/>
          </a:p>
        </p:txBody>
      </p:sp>
      <p:sp>
        <p:nvSpPr>
          <p:cNvPr id="13" name="TextBox 25"/>
          <p:cNvSpPr txBox="1">
            <a:spLocks noChangeArrowheads="1"/>
          </p:cNvSpPr>
          <p:nvPr/>
        </p:nvSpPr>
        <p:spPr bwMode="auto">
          <a:xfrm>
            <a:off x="755576" y="404664"/>
            <a:ext cx="3168352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42900" indent="-342900"/>
            <a:r>
              <a:rPr lang="ko-KR" altLang="en-US" sz="2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배달의민족 한나" pitchFamily="2" charset="-127"/>
                <a:ea typeface="배달의민족 한나" pitchFamily="2" charset="-127"/>
              </a:rPr>
              <a:t>음성 인식 모델</a:t>
            </a:r>
            <a:endParaRPr lang="en-US" altLang="ko-KR" sz="2800" dirty="0" smtClean="0">
              <a:solidFill>
                <a:srgbClr val="393738"/>
              </a:solidFill>
              <a:latin typeface="배달의민족 한나" pitchFamily="2" charset="-127"/>
              <a:ea typeface="배달의민족 한나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6230092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직선 연결선 3"/>
          <p:cNvCxnSpPr/>
          <p:nvPr/>
        </p:nvCxnSpPr>
        <p:spPr>
          <a:xfrm>
            <a:off x="179512" y="236354"/>
            <a:ext cx="446400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/>
          <p:cNvSpPr txBox="1">
            <a:spLocks noChangeArrowheads="1"/>
          </p:cNvSpPr>
          <p:nvPr/>
        </p:nvSpPr>
        <p:spPr bwMode="auto">
          <a:xfrm>
            <a:off x="35496" y="182250"/>
            <a:ext cx="2736304" cy="144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42900" indent="-342900"/>
            <a:r>
              <a:rPr lang="en-US" altLang="ko-KR" sz="8800" dirty="0">
                <a:solidFill>
                  <a:srgbClr val="393738"/>
                </a:solidFill>
                <a:latin typeface="나눔고딕 ExtraBold" pitchFamily="50" charset="-127"/>
                <a:ea typeface="나눔고딕 ExtraBold" pitchFamily="50" charset="-127"/>
              </a:rPr>
              <a:t>2</a:t>
            </a:r>
            <a:endParaRPr lang="en-US" altLang="ko-KR" sz="8800" dirty="0" smtClean="0">
              <a:solidFill>
                <a:srgbClr val="393738"/>
              </a:solidFill>
              <a:latin typeface="나눔고딕 ExtraBold" pitchFamily="50" charset="-127"/>
              <a:ea typeface="나눔고딕 ExtraBold" pitchFamily="50" charset="-127"/>
            </a:endParaRPr>
          </a:p>
        </p:txBody>
      </p:sp>
      <p:cxnSp>
        <p:nvCxnSpPr>
          <p:cNvPr id="6" name="직선 연결선 5"/>
          <p:cNvCxnSpPr/>
          <p:nvPr/>
        </p:nvCxnSpPr>
        <p:spPr>
          <a:xfrm>
            <a:off x="179512" y="1556792"/>
            <a:ext cx="446400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25"/>
          <p:cNvSpPr txBox="1">
            <a:spLocks noChangeArrowheads="1"/>
          </p:cNvSpPr>
          <p:nvPr/>
        </p:nvSpPr>
        <p:spPr bwMode="auto">
          <a:xfrm>
            <a:off x="179512" y="1685074"/>
            <a:ext cx="3312368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42900" indent="-342900" algn="ctr"/>
            <a:r>
              <a:rPr lang="en-US" altLang="ko-KR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□ </a:t>
            </a:r>
            <a:r>
              <a:rPr lang="en-US" altLang="ko-KR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배달의민족 한나" pitchFamily="2" charset="-127"/>
                <a:ea typeface="배달의민족 한나" pitchFamily="2" charset="-127"/>
              </a:rPr>
              <a:t>Pre-processing </a:t>
            </a:r>
            <a:r>
              <a:rPr lang="en-US" altLang="ko-KR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배달의민족 한나" pitchFamily="2" charset="-127"/>
                <a:ea typeface="배달의민족 한나" pitchFamily="2" charset="-127"/>
              </a:rPr>
              <a:t>Data </a:t>
            </a:r>
            <a:endParaRPr lang="ko-KR" altLang="en-US" sz="2400" dirty="0" smtClean="0">
              <a:solidFill>
                <a:schemeClr val="tx1">
                  <a:lumMod val="75000"/>
                  <a:lumOff val="25000"/>
                </a:schemeClr>
              </a:solidFill>
              <a:latin typeface="배달의민족 한나" pitchFamily="2" charset="-127"/>
              <a:ea typeface="배달의민족 한나" pitchFamily="2" charset="-127"/>
            </a:endParaRPr>
          </a:p>
        </p:txBody>
      </p:sp>
      <p:sp>
        <p:nvSpPr>
          <p:cNvPr id="21" name="TextBox 25"/>
          <p:cNvSpPr txBox="1">
            <a:spLocks noChangeArrowheads="1"/>
          </p:cNvSpPr>
          <p:nvPr/>
        </p:nvSpPr>
        <p:spPr bwMode="auto">
          <a:xfrm>
            <a:off x="827584" y="908720"/>
            <a:ext cx="4176464" cy="3103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t">
            <a:spAutoFit/>
          </a:bodyPr>
          <a:lstStyle/>
          <a:p>
            <a:pPr marL="342900" indent="-342900">
              <a:lnSpc>
                <a:spcPts val="1700"/>
              </a:lnSpc>
            </a:pPr>
            <a:r>
              <a:rPr lang="en-US" altLang="ko-KR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바른고딕" pitchFamily="50" charset="-127"/>
                <a:ea typeface="나눔바른고딕" pitchFamily="50" charset="-127"/>
              </a:rPr>
              <a:t>Overview</a:t>
            </a:r>
            <a:endParaRPr lang="en-US" altLang="ko-KR" sz="1400" dirty="0">
              <a:solidFill>
                <a:schemeClr val="tx1">
                  <a:lumMod val="65000"/>
                  <a:lumOff val="35000"/>
                </a:schemeClr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17" name="Rectangle 3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95536" y="2238148"/>
            <a:ext cx="8352928" cy="41143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72000" tIns="0" rIns="0" bIns="0"/>
          <a:lstStyle/>
          <a:p>
            <a:pPr marL="85725">
              <a:lnSpc>
                <a:spcPct val="150000"/>
              </a:lnSpc>
              <a:spcAft>
                <a:spcPct val="20000"/>
              </a:spcAft>
              <a:defRPr/>
            </a:pPr>
            <a:endParaRPr kumimoji="0" lang="en-US" altLang="ko-KR" sz="1600" b="1" kern="0" dirty="0">
              <a:ln>
                <a:solidFill>
                  <a:srgbClr val="383637"/>
                </a:solidFill>
              </a:ln>
              <a:latin typeface="+mn-ea"/>
              <a:ea typeface="+mn-ea"/>
            </a:endParaRPr>
          </a:p>
        </p:txBody>
      </p:sp>
      <p:pic>
        <p:nvPicPr>
          <p:cNvPr id="3" name="그림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536" y="2310155"/>
            <a:ext cx="8324966" cy="1798193"/>
          </a:xfrm>
          <a:prstGeom prst="rect">
            <a:avLst/>
          </a:prstGeom>
        </p:spPr>
      </p:pic>
      <p:pic>
        <p:nvPicPr>
          <p:cNvPr id="10" name="그림 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981" y="4204687"/>
            <a:ext cx="9144000" cy="2468880"/>
          </a:xfrm>
          <a:prstGeom prst="rect">
            <a:avLst/>
          </a:prstGeom>
        </p:spPr>
      </p:pic>
      <p:sp>
        <p:nvSpPr>
          <p:cNvPr id="13" name="TextBox 25"/>
          <p:cNvSpPr txBox="1">
            <a:spLocks noChangeArrowheads="1"/>
          </p:cNvSpPr>
          <p:nvPr/>
        </p:nvSpPr>
        <p:spPr bwMode="auto">
          <a:xfrm>
            <a:off x="755576" y="404664"/>
            <a:ext cx="3168352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42900" indent="-342900"/>
            <a:r>
              <a:rPr lang="ko-KR" altLang="en-US" sz="2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배달의민족 한나" pitchFamily="2" charset="-127"/>
                <a:ea typeface="배달의민족 한나" pitchFamily="2" charset="-127"/>
              </a:rPr>
              <a:t>음성 인식 모델</a:t>
            </a:r>
            <a:endParaRPr lang="en-US" altLang="ko-KR" sz="2800" dirty="0" smtClean="0">
              <a:solidFill>
                <a:srgbClr val="393738"/>
              </a:solidFill>
              <a:latin typeface="배달의민족 한나" pitchFamily="2" charset="-127"/>
              <a:ea typeface="배달의민족 한나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816273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직선 연결선 3"/>
          <p:cNvCxnSpPr/>
          <p:nvPr/>
        </p:nvCxnSpPr>
        <p:spPr>
          <a:xfrm>
            <a:off x="179512" y="236354"/>
            <a:ext cx="446400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/>
          <p:cNvSpPr txBox="1">
            <a:spLocks noChangeArrowheads="1"/>
          </p:cNvSpPr>
          <p:nvPr/>
        </p:nvSpPr>
        <p:spPr bwMode="auto">
          <a:xfrm>
            <a:off x="35496" y="182250"/>
            <a:ext cx="2736304" cy="144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42900" indent="-342900"/>
            <a:r>
              <a:rPr lang="en-US" altLang="ko-KR" sz="8800" dirty="0">
                <a:solidFill>
                  <a:srgbClr val="393738"/>
                </a:solidFill>
                <a:latin typeface="나눔고딕 ExtraBold" pitchFamily="50" charset="-127"/>
                <a:ea typeface="나눔고딕 ExtraBold" pitchFamily="50" charset="-127"/>
              </a:rPr>
              <a:t>2</a:t>
            </a:r>
            <a:endParaRPr lang="en-US" altLang="ko-KR" sz="8800" dirty="0" smtClean="0">
              <a:solidFill>
                <a:srgbClr val="393738"/>
              </a:solidFill>
              <a:latin typeface="나눔고딕 ExtraBold" pitchFamily="50" charset="-127"/>
              <a:ea typeface="나눔고딕 ExtraBold" pitchFamily="50" charset="-127"/>
            </a:endParaRPr>
          </a:p>
        </p:txBody>
      </p:sp>
      <p:cxnSp>
        <p:nvCxnSpPr>
          <p:cNvPr id="6" name="직선 연결선 5"/>
          <p:cNvCxnSpPr/>
          <p:nvPr/>
        </p:nvCxnSpPr>
        <p:spPr>
          <a:xfrm>
            <a:off x="179512" y="1556792"/>
            <a:ext cx="446400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5"/>
          <p:cNvSpPr txBox="1">
            <a:spLocks noChangeArrowheads="1"/>
          </p:cNvSpPr>
          <p:nvPr/>
        </p:nvSpPr>
        <p:spPr bwMode="auto">
          <a:xfrm>
            <a:off x="827584" y="908720"/>
            <a:ext cx="4176464" cy="3103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t">
            <a:spAutoFit/>
          </a:bodyPr>
          <a:lstStyle/>
          <a:p>
            <a:pPr marL="342900" indent="-342900">
              <a:lnSpc>
                <a:spcPts val="1700"/>
              </a:lnSpc>
            </a:pPr>
            <a:r>
              <a:rPr lang="en-US" altLang="ko-KR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바른고딕" pitchFamily="50" charset="-127"/>
                <a:ea typeface="나눔바른고딕" pitchFamily="50" charset="-127"/>
              </a:rPr>
              <a:t>Overview</a:t>
            </a:r>
            <a:endParaRPr lang="en-US" altLang="ko-KR" sz="1400" dirty="0">
              <a:solidFill>
                <a:schemeClr val="tx1">
                  <a:lumMod val="65000"/>
                  <a:lumOff val="35000"/>
                </a:schemeClr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17" name="Rectangle 3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95536" y="2238148"/>
            <a:ext cx="8352928" cy="41143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72000" tIns="0" rIns="0" bIns="0"/>
          <a:lstStyle/>
          <a:p>
            <a:pPr marL="85725">
              <a:lnSpc>
                <a:spcPct val="150000"/>
              </a:lnSpc>
              <a:spcAft>
                <a:spcPct val="20000"/>
              </a:spcAft>
              <a:defRPr/>
            </a:pPr>
            <a:endParaRPr kumimoji="0" lang="en-US" altLang="ko-KR" sz="1600" b="1" kern="0" dirty="0">
              <a:ln>
                <a:solidFill>
                  <a:srgbClr val="383637"/>
                </a:solidFill>
              </a:ln>
              <a:latin typeface="+mn-ea"/>
              <a:ea typeface="+mn-ea"/>
            </a:endParaRPr>
          </a:p>
        </p:txBody>
      </p:sp>
      <p:sp>
        <p:nvSpPr>
          <p:cNvPr id="11" name="TextBox 25"/>
          <p:cNvSpPr txBox="1">
            <a:spLocks noChangeArrowheads="1"/>
          </p:cNvSpPr>
          <p:nvPr/>
        </p:nvSpPr>
        <p:spPr bwMode="auto">
          <a:xfrm>
            <a:off x="179512" y="1685074"/>
            <a:ext cx="3312368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42900" indent="-342900" algn="ctr"/>
            <a:r>
              <a:rPr lang="en-US" altLang="ko-KR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□ </a:t>
            </a:r>
            <a:r>
              <a:rPr lang="en-US" altLang="ko-KR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배달의민족 한나" pitchFamily="2" charset="-127"/>
                <a:ea typeface="배달의민족 한나" pitchFamily="2" charset="-127"/>
              </a:rPr>
              <a:t>Pre-processing </a:t>
            </a:r>
            <a:r>
              <a:rPr lang="en-US" altLang="ko-KR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배달의민족 한나" pitchFamily="2" charset="-127"/>
                <a:ea typeface="배달의민족 한나" pitchFamily="2" charset="-127"/>
              </a:rPr>
              <a:t>Data </a:t>
            </a:r>
            <a:endParaRPr lang="ko-KR" altLang="en-US" sz="2400" dirty="0" smtClean="0">
              <a:solidFill>
                <a:schemeClr val="tx1">
                  <a:lumMod val="75000"/>
                  <a:lumOff val="25000"/>
                </a:schemeClr>
              </a:solidFill>
              <a:latin typeface="배달의민족 한나" pitchFamily="2" charset="-127"/>
              <a:ea typeface="배달의민족 한나" pitchFamily="2" charset="-127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395040" y="2228216"/>
            <a:ext cx="828141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000" b="1" dirty="0" smtClean="0">
                <a:solidFill>
                  <a:srgbClr val="393738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○ </a:t>
            </a:r>
            <a:r>
              <a:rPr lang="ko-KR" altLang="en-US" sz="2000" b="1" dirty="0" err="1">
                <a:solidFill>
                  <a:srgbClr val="393738"/>
                </a:solidFill>
                <a:latin typeface="맑은 고딕" panose="020B0503020000020004" pitchFamily="50" charset="-127"/>
              </a:rPr>
              <a:t>푸리에</a:t>
            </a:r>
            <a:r>
              <a:rPr lang="ko-KR" altLang="en-US" sz="2000" b="1" dirty="0">
                <a:solidFill>
                  <a:srgbClr val="393738"/>
                </a:solidFill>
                <a:latin typeface="맑은 고딕" panose="020B0503020000020004" pitchFamily="50" charset="-127"/>
              </a:rPr>
              <a:t> 변환</a:t>
            </a:r>
            <a:r>
              <a:rPr lang="en-US" altLang="ko-KR" sz="2000" b="1" dirty="0">
                <a:solidFill>
                  <a:srgbClr val="393738"/>
                </a:solidFill>
                <a:latin typeface="맑은 고딕" panose="020B0503020000020004" pitchFamily="50" charset="-127"/>
              </a:rPr>
              <a:t>(Fourier transform)</a:t>
            </a:r>
          </a:p>
          <a:p>
            <a:endParaRPr lang="en-US" altLang="ko-KR" sz="800" b="1" dirty="0" smtClean="0">
              <a:solidFill>
                <a:srgbClr val="393738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r>
              <a:rPr lang="en-US" altLang="ko-KR" sz="1600" dirty="0" smtClean="0">
                <a:solidFill>
                  <a:srgbClr val="393738"/>
                </a:solidFill>
              </a:rPr>
              <a:t> - </a:t>
            </a:r>
            <a:r>
              <a:rPr lang="ko-KR" altLang="en-US" sz="1600" dirty="0" err="1">
                <a:solidFill>
                  <a:srgbClr val="393738"/>
                </a:solidFill>
              </a:rPr>
              <a:t>푸리에</a:t>
            </a:r>
            <a:r>
              <a:rPr lang="ko-KR" altLang="en-US" sz="1600" dirty="0">
                <a:solidFill>
                  <a:srgbClr val="393738"/>
                </a:solidFill>
              </a:rPr>
              <a:t> 변환</a:t>
            </a:r>
            <a:r>
              <a:rPr lang="en-US" altLang="ko-KR" sz="1600" dirty="0">
                <a:solidFill>
                  <a:srgbClr val="393738"/>
                </a:solidFill>
              </a:rPr>
              <a:t>(Fourier transform, FT) </a:t>
            </a:r>
            <a:r>
              <a:rPr lang="ko-KR" altLang="en-US" sz="1600" dirty="0">
                <a:solidFill>
                  <a:srgbClr val="393738"/>
                </a:solidFill>
              </a:rPr>
              <a:t>은 시간에 대한 </a:t>
            </a:r>
            <a:r>
              <a:rPr lang="ko-KR" altLang="en-US" sz="1600" dirty="0">
                <a:solidFill>
                  <a:srgbClr val="393738"/>
                </a:solidFill>
                <a:hlinkClick r:id="rId3" tooltip="함수"/>
              </a:rPr>
              <a:t>함수</a:t>
            </a:r>
            <a:r>
              <a:rPr lang="ko-KR" altLang="en-US" sz="1600" dirty="0">
                <a:solidFill>
                  <a:srgbClr val="393738"/>
                </a:solidFill>
              </a:rPr>
              <a:t> </a:t>
            </a:r>
            <a:r>
              <a:rPr lang="en-US" altLang="ko-KR" sz="1600" dirty="0">
                <a:solidFill>
                  <a:srgbClr val="393738"/>
                </a:solidFill>
              </a:rPr>
              <a:t>(</a:t>
            </a:r>
            <a:r>
              <a:rPr lang="ko-KR" altLang="en-US" sz="1600" dirty="0">
                <a:solidFill>
                  <a:srgbClr val="393738"/>
                </a:solidFill>
              </a:rPr>
              <a:t>혹은 신호</a:t>
            </a:r>
            <a:r>
              <a:rPr lang="en-US" altLang="ko-KR" sz="1600" dirty="0">
                <a:solidFill>
                  <a:srgbClr val="393738"/>
                </a:solidFill>
              </a:rPr>
              <a:t>) </a:t>
            </a:r>
            <a:r>
              <a:rPr lang="ko-KR" altLang="en-US" sz="1600" dirty="0">
                <a:solidFill>
                  <a:srgbClr val="393738"/>
                </a:solidFill>
              </a:rPr>
              <a:t>를 함수를 구성하고 있는 </a:t>
            </a:r>
            <a:r>
              <a:rPr lang="ko-KR" altLang="en-US" sz="1600" dirty="0">
                <a:solidFill>
                  <a:srgbClr val="393738"/>
                </a:solidFill>
                <a:hlinkClick r:id="rId4" tooltip="주파수"/>
              </a:rPr>
              <a:t>주파수</a:t>
            </a:r>
            <a:r>
              <a:rPr lang="ko-KR" altLang="en-US" sz="1600" dirty="0">
                <a:solidFill>
                  <a:srgbClr val="393738"/>
                </a:solidFill>
              </a:rPr>
              <a:t> 성분으로 분해하는 작업이다</a:t>
            </a:r>
            <a:r>
              <a:rPr lang="en-US" altLang="ko-KR" sz="1600" dirty="0" smtClean="0">
                <a:solidFill>
                  <a:srgbClr val="393738"/>
                </a:solidFill>
              </a:rPr>
              <a:t>. - </a:t>
            </a:r>
            <a:r>
              <a:rPr lang="ko-KR" altLang="en-US" sz="1600" dirty="0" smtClean="0">
                <a:solidFill>
                  <a:srgbClr val="393738"/>
                </a:solidFill>
              </a:rPr>
              <a:t>위키백과</a:t>
            </a:r>
            <a:endParaRPr lang="en-US" altLang="ko-KR" sz="1600" dirty="0">
              <a:solidFill>
                <a:srgbClr val="393738"/>
              </a:solidFill>
            </a:endParaRPr>
          </a:p>
        </p:txBody>
      </p:sp>
      <p:pic>
        <p:nvPicPr>
          <p:cNvPr id="7" name="그림 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385" y="3325356"/>
            <a:ext cx="7579230" cy="3127980"/>
          </a:xfrm>
          <a:prstGeom prst="rect">
            <a:avLst/>
          </a:prstGeom>
        </p:spPr>
      </p:pic>
      <p:sp>
        <p:nvSpPr>
          <p:cNvPr id="16" name="TextBox 25"/>
          <p:cNvSpPr txBox="1">
            <a:spLocks noChangeArrowheads="1"/>
          </p:cNvSpPr>
          <p:nvPr/>
        </p:nvSpPr>
        <p:spPr bwMode="auto">
          <a:xfrm>
            <a:off x="755576" y="404664"/>
            <a:ext cx="3168352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42900" indent="-342900"/>
            <a:r>
              <a:rPr lang="ko-KR" altLang="en-US" sz="2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배달의민족 한나" pitchFamily="2" charset="-127"/>
                <a:ea typeface="배달의민족 한나" pitchFamily="2" charset="-127"/>
              </a:rPr>
              <a:t>음성 인식 모델</a:t>
            </a:r>
            <a:endParaRPr lang="en-US" altLang="ko-KR" sz="2800" dirty="0" smtClean="0">
              <a:solidFill>
                <a:srgbClr val="393738"/>
              </a:solidFill>
              <a:latin typeface="배달의민족 한나" pitchFamily="2" charset="-127"/>
              <a:ea typeface="배달의민족 한나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5471986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직선 연결선 3"/>
          <p:cNvCxnSpPr/>
          <p:nvPr/>
        </p:nvCxnSpPr>
        <p:spPr>
          <a:xfrm>
            <a:off x="179512" y="236354"/>
            <a:ext cx="446400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/>
          <p:cNvSpPr txBox="1">
            <a:spLocks noChangeArrowheads="1"/>
          </p:cNvSpPr>
          <p:nvPr/>
        </p:nvSpPr>
        <p:spPr bwMode="auto">
          <a:xfrm>
            <a:off x="35496" y="182250"/>
            <a:ext cx="2736304" cy="144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42900" indent="-342900"/>
            <a:r>
              <a:rPr lang="en-US" altLang="ko-KR" sz="8800" dirty="0">
                <a:solidFill>
                  <a:srgbClr val="393738"/>
                </a:solidFill>
                <a:latin typeface="나눔고딕 ExtraBold" pitchFamily="50" charset="-127"/>
                <a:ea typeface="나눔고딕 ExtraBold" pitchFamily="50" charset="-127"/>
              </a:rPr>
              <a:t>2</a:t>
            </a:r>
            <a:endParaRPr lang="en-US" altLang="ko-KR" sz="8800" dirty="0" smtClean="0">
              <a:solidFill>
                <a:srgbClr val="393738"/>
              </a:solidFill>
              <a:latin typeface="나눔고딕 ExtraBold" pitchFamily="50" charset="-127"/>
              <a:ea typeface="나눔고딕 ExtraBold" pitchFamily="50" charset="-127"/>
            </a:endParaRPr>
          </a:p>
        </p:txBody>
      </p:sp>
      <p:cxnSp>
        <p:nvCxnSpPr>
          <p:cNvPr id="6" name="직선 연결선 5"/>
          <p:cNvCxnSpPr/>
          <p:nvPr/>
        </p:nvCxnSpPr>
        <p:spPr>
          <a:xfrm>
            <a:off x="179512" y="1556792"/>
            <a:ext cx="446400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5"/>
          <p:cNvSpPr txBox="1">
            <a:spLocks noChangeArrowheads="1"/>
          </p:cNvSpPr>
          <p:nvPr/>
        </p:nvSpPr>
        <p:spPr bwMode="auto">
          <a:xfrm>
            <a:off x="827584" y="908720"/>
            <a:ext cx="4176464" cy="3103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t">
            <a:spAutoFit/>
          </a:bodyPr>
          <a:lstStyle/>
          <a:p>
            <a:pPr marL="342900" indent="-342900">
              <a:lnSpc>
                <a:spcPts val="1700"/>
              </a:lnSpc>
            </a:pPr>
            <a:r>
              <a:rPr lang="en-US" altLang="ko-KR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바른고딕" pitchFamily="50" charset="-127"/>
                <a:ea typeface="나눔바른고딕" pitchFamily="50" charset="-127"/>
              </a:rPr>
              <a:t>Overview</a:t>
            </a:r>
            <a:endParaRPr lang="en-US" altLang="ko-KR" sz="1400" dirty="0">
              <a:solidFill>
                <a:schemeClr val="tx1">
                  <a:lumMod val="65000"/>
                  <a:lumOff val="35000"/>
                </a:schemeClr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17" name="Rectangle 3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95536" y="2238148"/>
            <a:ext cx="8352928" cy="41143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72000" tIns="0" rIns="0" bIns="0"/>
          <a:lstStyle/>
          <a:p>
            <a:pPr marL="85725">
              <a:lnSpc>
                <a:spcPct val="150000"/>
              </a:lnSpc>
              <a:spcAft>
                <a:spcPct val="20000"/>
              </a:spcAft>
              <a:defRPr/>
            </a:pPr>
            <a:endParaRPr kumimoji="0" lang="en-US" altLang="ko-KR" sz="1600" b="1" kern="0" dirty="0">
              <a:ln>
                <a:solidFill>
                  <a:srgbClr val="383637"/>
                </a:solidFill>
              </a:ln>
              <a:latin typeface="+mn-ea"/>
              <a:ea typeface="+mn-ea"/>
            </a:endParaRPr>
          </a:p>
        </p:txBody>
      </p:sp>
      <p:sp>
        <p:nvSpPr>
          <p:cNvPr id="11" name="TextBox 25"/>
          <p:cNvSpPr txBox="1">
            <a:spLocks noChangeArrowheads="1"/>
          </p:cNvSpPr>
          <p:nvPr/>
        </p:nvSpPr>
        <p:spPr bwMode="auto">
          <a:xfrm>
            <a:off x="179512" y="1685074"/>
            <a:ext cx="3312368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42900" indent="-342900" algn="ctr"/>
            <a:r>
              <a:rPr lang="en-US" altLang="ko-KR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□ </a:t>
            </a:r>
            <a:r>
              <a:rPr lang="en-US" altLang="ko-KR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배달의민족 한나" pitchFamily="2" charset="-127"/>
                <a:ea typeface="배달의민족 한나" pitchFamily="2" charset="-127"/>
              </a:rPr>
              <a:t>Pre-processing </a:t>
            </a:r>
            <a:r>
              <a:rPr lang="en-US" altLang="ko-KR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배달의민족 한나" pitchFamily="2" charset="-127"/>
                <a:ea typeface="배달의민족 한나" pitchFamily="2" charset="-127"/>
              </a:rPr>
              <a:t>Data </a:t>
            </a:r>
            <a:endParaRPr lang="ko-KR" altLang="en-US" sz="2400" dirty="0" smtClean="0">
              <a:solidFill>
                <a:schemeClr val="tx1">
                  <a:lumMod val="75000"/>
                  <a:lumOff val="25000"/>
                </a:schemeClr>
              </a:solidFill>
              <a:latin typeface="배달의민족 한나" pitchFamily="2" charset="-127"/>
              <a:ea typeface="배달의민족 한나" pitchFamily="2" charset="-127"/>
            </a:endParaRPr>
          </a:p>
        </p:txBody>
      </p:sp>
      <p:pic>
        <p:nvPicPr>
          <p:cNvPr id="8" name="그림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25" y="2310155"/>
            <a:ext cx="8648550" cy="1747007"/>
          </a:xfrm>
          <a:prstGeom prst="rect">
            <a:avLst/>
          </a:prstGeom>
        </p:spPr>
      </p:pic>
      <p:pic>
        <p:nvPicPr>
          <p:cNvPr id="9" name="그림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134" y="4236647"/>
            <a:ext cx="9144000" cy="1298448"/>
          </a:xfrm>
          <a:prstGeom prst="rect">
            <a:avLst/>
          </a:prstGeom>
        </p:spPr>
      </p:pic>
      <p:pic>
        <p:nvPicPr>
          <p:cNvPr id="10" name="그림 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146738"/>
            <a:ext cx="9144000" cy="4234589"/>
          </a:xfrm>
          <a:prstGeom prst="rect">
            <a:avLst/>
          </a:prstGeom>
        </p:spPr>
      </p:pic>
      <p:sp>
        <p:nvSpPr>
          <p:cNvPr id="12" name="직사각형 11"/>
          <p:cNvSpPr/>
          <p:nvPr/>
        </p:nvSpPr>
        <p:spPr>
          <a:xfrm>
            <a:off x="1115616" y="2556476"/>
            <a:ext cx="216024" cy="3392803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n w="12700">
                <a:solidFill>
                  <a:schemeClr val="tx1"/>
                </a:solidFill>
              </a:ln>
            </a:endParaRPr>
          </a:p>
        </p:txBody>
      </p:sp>
      <p:sp>
        <p:nvSpPr>
          <p:cNvPr id="16" name="TextBox 25"/>
          <p:cNvSpPr txBox="1">
            <a:spLocks noChangeArrowheads="1"/>
          </p:cNvSpPr>
          <p:nvPr/>
        </p:nvSpPr>
        <p:spPr bwMode="auto">
          <a:xfrm>
            <a:off x="755576" y="404664"/>
            <a:ext cx="3168352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42900" indent="-342900"/>
            <a:r>
              <a:rPr lang="ko-KR" altLang="en-US" sz="2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배달의민족 한나" pitchFamily="2" charset="-127"/>
                <a:ea typeface="배달의민족 한나" pitchFamily="2" charset="-127"/>
              </a:rPr>
              <a:t>음성 인식 모델</a:t>
            </a:r>
            <a:endParaRPr lang="en-US" altLang="ko-KR" sz="2800" dirty="0" smtClean="0">
              <a:solidFill>
                <a:srgbClr val="393738"/>
              </a:solidFill>
              <a:latin typeface="배달의민족 한나" pitchFamily="2" charset="-127"/>
              <a:ea typeface="배달의민족 한나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1208476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직선 연결선 3"/>
          <p:cNvCxnSpPr/>
          <p:nvPr/>
        </p:nvCxnSpPr>
        <p:spPr>
          <a:xfrm>
            <a:off x="179512" y="236354"/>
            <a:ext cx="446400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/>
          <p:cNvSpPr txBox="1">
            <a:spLocks noChangeArrowheads="1"/>
          </p:cNvSpPr>
          <p:nvPr/>
        </p:nvSpPr>
        <p:spPr bwMode="auto">
          <a:xfrm>
            <a:off x="35496" y="182250"/>
            <a:ext cx="2736304" cy="144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42900" indent="-342900"/>
            <a:r>
              <a:rPr lang="en-US" altLang="ko-KR" sz="8800" dirty="0">
                <a:solidFill>
                  <a:srgbClr val="393738"/>
                </a:solidFill>
                <a:latin typeface="나눔고딕 ExtraBold" pitchFamily="50" charset="-127"/>
                <a:ea typeface="나눔고딕 ExtraBold" pitchFamily="50" charset="-127"/>
              </a:rPr>
              <a:t>2</a:t>
            </a:r>
            <a:endParaRPr lang="en-US" altLang="ko-KR" sz="8800" dirty="0" smtClean="0">
              <a:solidFill>
                <a:srgbClr val="393738"/>
              </a:solidFill>
              <a:latin typeface="나눔고딕 ExtraBold" pitchFamily="50" charset="-127"/>
              <a:ea typeface="나눔고딕 ExtraBold" pitchFamily="50" charset="-127"/>
            </a:endParaRPr>
          </a:p>
        </p:txBody>
      </p:sp>
      <p:cxnSp>
        <p:nvCxnSpPr>
          <p:cNvPr id="6" name="직선 연결선 5"/>
          <p:cNvCxnSpPr/>
          <p:nvPr/>
        </p:nvCxnSpPr>
        <p:spPr>
          <a:xfrm>
            <a:off x="179512" y="1556792"/>
            <a:ext cx="446400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5"/>
          <p:cNvSpPr txBox="1">
            <a:spLocks noChangeArrowheads="1"/>
          </p:cNvSpPr>
          <p:nvPr/>
        </p:nvSpPr>
        <p:spPr bwMode="auto">
          <a:xfrm>
            <a:off x="827584" y="908720"/>
            <a:ext cx="4176464" cy="3103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t">
            <a:spAutoFit/>
          </a:bodyPr>
          <a:lstStyle/>
          <a:p>
            <a:pPr marL="342900" indent="-342900">
              <a:lnSpc>
                <a:spcPts val="1700"/>
              </a:lnSpc>
            </a:pPr>
            <a:r>
              <a:rPr lang="en-US" altLang="ko-KR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바른고딕" pitchFamily="50" charset="-127"/>
                <a:ea typeface="나눔바른고딕" pitchFamily="50" charset="-127"/>
              </a:rPr>
              <a:t>Overview</a:t>
            </a:r>
            <a:endParaRPr lang="en-US" altLang="ko-KR" sz="1400" dirty="0">
              <a:solidFill>
                <a:schemeClr val="tx1">
                  <a:lumMod val="65000"/>
                  <a:lumOff val="35000"/>
                </a:schemeClr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17" name="Rectangle 3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95536" y="2238148"/>
            <a:ext cx="8352928" cy="41143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72000" tIns="0" rIns="0" bIns="0"/>
          <a:lstStyle/>
          <a:p>
            <a:pPr marL="85725">
              <a:lnSpc>
                <a:spcPct val="150000"/>
              </a:lnSpc>
              <a:spcAft>
                <a:spcPct val="20000"/>
              </a:spcAft>
              <a:defRPr/>
            </a:pPr>
            <a:endParaRPr kumimoji="0" lang="en-US" altLang="ko-KR" sz="1600" b="1" kern="0" dirty="0">
              <a:ln>
                <a:solidFill>
                  <a:srgbClr val="383637"/>
                </a:solidFill>
              </a:ln>
              <a:latin typeface="+mn-ea"/>
              <a:ea typeface="+mn-ea"/>
            </a:endParaRPr>
          </a:p>
        </p:txBody>
      </p:sp>
      <p:sp>
        <p:nvSpPr>
          <p:cNvPr id="11" name="TextBox 25"/>
          <p:cNvSpPr txBox="1">
            <a:spLocks noChangeArrowheads="1"/>
          </p:cNvSpPr>
          <p:nvPr/>
        </p:nvSpPr>
        <p:spPr bwMode="auto">
          <a:xfrm>
            <a:off x="179512" y="1685074"/>
            <a:ext cx="216024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42900" indent="-342900" algn="ctr"/>
            <a:r>
              <a:rPr lang="en-US" altLang="ko-KR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□ </a:t>
            </a:r>
            <a:r>
              <a:rPr lang="ko-KR" altLang="en-US" sz="2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배달의민족 한나" pitchFamily="2" charset="-127"/>
                <a:ea typeface="배달의민족 한나" pitchFamily="2" charset="-127"/>
              </a:rPr>
              <a:t>음향인식</a:t>
            </a:r>
            <a:r>
              <a:rPr lang="ko-KR" alt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배달의민족 한나" pitchFamily="2" charset="-127"/>
                <a:ea typeface="배달의민족 한나" pitchFamily="2" charset="-127"/>
              </a:rPr>
              <a:t> 모델</a:t>
            </a:r>
            <a:r>
              <a:rPr lang="en-US" altLang="ko-KR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배달의민족 한나" pitchFamily="2" charset="-127"/>
                <a:ea typeface="배달의민족 한나" pitchFamily="2" charset="-127"/>
              </a:rPr>
              <a:t> </a:t>
            </a:r>
            <a:endParaRPr lang="ko-KR" altLang="en-US" sz="2400" dirty="0" smtClean="0">
              <a:solidFill>
                <a:schemeClr val="tx1">
                  <a:lumMod val="75000"/>
                  <a:lumOff val="25000"/>
                </a:schemeClr>
              </a:solidFill>
              <a:latin typeface="배달의민족 한나" pitchFamily="2" charset="-127"/>
              <a:ea typeface="배달의민족 한나" pitchFamily="2" charset="-127"/>
            </a:endParaRPr>
          </a:p>
        </p:txBody>
      </p:sp>
      <p:pic>
        <p:nvPicPr>
          <p:cNvPr id="3" name="그림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552" y="2248321"/>
            <a:ext cx="8064896" cy="4416071"/>
          </a:xfrm>
          <a:prstGeom prst="rect">
            <a:avLst/>
          </a:prstGeom>
        </p:spPr>
      </p:pic>
      <p:sp>
        <p:nvSpPr>
          <p:cNvPr id="12" name="TextBox 25"/>
          <p:cNvSpPr txBox="1">
            <a:spLocks noChangeArrowheads="1"/>
          </p:cNvSpPr>
          <p:nvPr/>
        </p:nvSpPr>
        <p:spPr bwMode="auto">
          <a:xfrm>
            <a:off x="755576" y="404664"/>
            <a:ext cx="3168352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42900" indent="-342900"/>
            <a:r>
              <a:rPr lang="ko-KR" altLang="en-US" sz="2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배달의민족 한나" pitchFamily="2" charset="-127"/>
                <a:ea typeface="배달의민족 한나" pitchFamily="2" charset="-127"/>
              </a:rPr>
              <a:t>음성 인식 모델</a:t>
            </a:r>
            <a:endParaRPr lang="en-US" altLang="ko-KR" sz="2800" dirty="0" smtClean="0">
              <a:solidFill>
                <a:srgbClr val="393738"/>
              </a:solidFill>
              <a:latin typeface="배달의민족 한나" pitchFamily="2" charset="-127"/>
              <a:ea typeface="배달의민족 한나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4966261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직선 연결선 3"/>
          <p:cNvCxnSpPr/>
          <p:nvPr/>
        </p:nvCxnSpPr>
        <p:spPr>
          <a:xfrm>
            <a:off x="179512" y="236354"/>
            <a:ext cx="446400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/>
          <p:cNvSpPr txBox="1">
            <a:spLocks noChangeArrowheads="1"/>
          </p:cNvSpPr>
          <p:nvPr/>
        </p:nvSpPr>
        <p:spPr bwMode="auto">
          <a:xfrm>
            <a:off x="35496" y="182250"/>
            <a:ext cx="2736304" cy="144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42900" indent="-342900"/>
            <a:r>
              <a:rPr lang="en-US" altLang="ko-KR" sz="8800" dirty="0">
                <a:solidFill>
                  <a:srgbClr val="393738"/>
                </a:solidFill>
                <a:latin typeface="나눔고딕 ExtraBold" pitchFamily="50" charset="-127"/>
                <a:ea typeface="나눔고딕 ExtraBold" pitchFamily="50" charset="-127"/>
              </a:rPr>
              <a:t>2</a:t>
            </a:r>
            <a:endParaRPr lang="en-US" altLang="ko-KR" sz="8800" dirty="0" smtClean="0">
              <a:solidFill>
                <a:srgbClr val="393738"/>
              </a:solidFill>
              <a:latin typeface="나눔고딕 ExtraBold" pitchFamily="50" charset="-127"/>
              <a:ea typeface="나눔고딕 ExtraBold" pitchFamily="50" charset="-127"/>
            </a:endParaRPr>
          </a:p>
        </p:txBody>
      </p:sp>
      <p:cxnSp>
        <p:nvCxnSpPr>
          <p:cNvPr id="6" name="직선 연결선 5"/>
          <p:cNvCxnSpPr/>
          <p:nvPr/>
        </p:nvCxnSpPr>
        <p:spPr>
          <a:xfrm>
            <a:off x="179512" y="1556792"/>
            <a:ext cx="446400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5"/>
          <p:cNvSpPr txBox="1">
            <a:spLocks noChangeArrowheads="1"/>
          </p:cNvSpPr>
          <p:nvPr/>
        </p:nvSpPr>
        <p:spPr bwMode="auto">
          <a:xfrm>
            <a:off x="827584" y="908720"/>
            <a:ext cx="4176464" cy="3103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t">
            <a:spAutoFit/>
          </a:bodyPr>
          <a:lstStyle/>
          <a:p>
            <a:pPr marL="342900" indent="-342900">
              <a:lnSpc>
                <a:spcPts val="1700"/>
              </a:lnSpc>
            </a:pPr>
            <a:r>
              <a:rPr lang="en-US" altLang="ko-KR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바른고딕" pitchFamily="50" charset="-127"/>
                <a:ea typeface="나눔바른고딕" pitchFamily="50" charset="-127"/>
              </a:rPr>
              <a:t>Overview</a:t>
            </a:r>
            <a:endParaRPr lang="en-US" altLang="ko-KR" sz="1400" dirty="0">
              <a:solidFill>
                <a:schemeClr val="tx1">
                  <a:lumMod val="65000"/>
                  <a:lumOff val="35000"/>
                </a:schemeClr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17" name="Rectangle 3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95536" y="2238148"/>
            <a:ext cx="8352928" cy="41143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72000" tIns="0" rIns="0" bIns="0"/>
          <a:lstStyle/>
          <a:p>
            <a:pPr marL="85725">
              <a:lnSpc>
                <a:spcPct val="150000"/>
              </a:lnSpc>
              <a:spcAft>
                <a:spcPct val="20000"/>
              </a:spcAft>
              <a:defRPr/>
            </a:pPr>
            <a:endParaRPr kumimoji="0" lang="en-US" altLang="ko-KR" sz="1600" b="1" kern="0" dirty="0">
              <a:ln>
                <a:solidFill>
                  <a:srgbClr val="383637"/>
                </a:solidFill>
              </a:ln>
              <a:latin typeface="+mn-ea"/>
              <a:ea typeface="+mn-ea"/>
            </a:endParaRPr>
          </a:p>
        </p:txBody>
      </p:sp>
      <p:sp>
        <p:nvSpPr>
          <p:cNvPr id="11" name="TextBox 25"/>
          <p:cNvSpPr txBox="1">
            <a:spLocks noChangeArrowheads="1"/>
          </p:cNvSpPr>
          <p:nvPr/>
        </p:nvSpPr>
        <p:spPr bwMode="auto">
          <a:xfrm>
            <a:off x="179512" y="1685074"/>
            <a:ext cx="216024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42900" indent="-342900" algn="ctr"/>
            <a:r>
              <a:rPr lang="en-US" altLang="ko-KR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□ </a:t>
            </a:r>
            <a:r>
              <a:rPr lang="ko-KR" altLang="en-US" sz="2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배달의민족 한나" pitchFamily="2" charset="-127"/>
                <a:ea typeface="배달의민족 한나" pitchFamily="2" charset="-127"/>
              </a:rPr>
              <a:t>음향인식</a:t>
            </a:r>
            <a:r>
              <a:rPr lang="ko-KR" alt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배달의민족 한나" pitchFamily="2" charset="-127"/>
                <a:ea typeface="배달의민족 한나" pitchFamily="2" charset="-127"/>
              </a:rPr>
              <a:t> 모델</a:t>
            </a:r>
            <a:r>
              <a:rPr lang="en-US" altLang="ko-KR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배달의민족 한나" pitchFamily="2" charset="-127"/>
                <a:ea typeface="배달의민족 한나" pitchFamily="2" charset="-127"/>
              </a:rPr>
              <a:t> </a:t>
            </a:r>
            <a:endParaRPr lang="ko-KR" altLang="en-US" sz="2400" dirty="0" smtClean="0">
              <a:solidFill>
                <a:schemeClr val="tx1">
                  <a:lumMod val="75000"/>
                  <a:lumOff val="25000"/>
                </a:schemeClr>
              </a:solidFill>
              <a:latin typeface="배달의민족 한나" pitchFamily="2" charset="-127"/>
              <a:ea typeface="배달의민족 한나" pitchFamily="2" charset="-127"/>
            </a:endParaRPr>
          </a:p>
        </p:txBody>
      </p:sp>
      <p:pic>
        <p:nvPicPr>
          <p:cNvPr id="7" name="그림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768" y="2248321"/>
            <a:ext cx="8748464" cy="4296808"/>
          </a:xfrm>
          <a:prstGeom prst="rect">
            <a:avLst/>
          </a:prstGeom>
        </p:spPr>
      </p:pic>
      <p:sp>
        <p:nvSpPr>
          <p:cNvPr id="12" name="TextBox 25"/>
          <p:cNvSpPr txBox="1">
            <a:spLocks noChangeArrowheads="1"/>
          </p:cNvSpPr>
          <p:nvPr/>
        </p:nvSpPr>
        <p:spPr bwMode="auto">
          <a:xfrm>
            <a:off x="755576" y="404664"/>
            <a:ext cx="3168352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42900" indent="-342900"/>
            <a:r>
              <a:rPr lang="ko-KR" altLang="en-US" sz="2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배달의민족 한나" pitchFamily="2" charset="-127"/>
                <a:ea typeface="배달의민족 한나" pitchFamily="2" charset="-127"/>
              </a:rPr>
              <a:t>음성 인식 모델</a:t>
            </a:r>
            <a:endParaRPr lang="en-US" altLang="ko-KR" sz="2800" dirty="0" smtClean="0">
              <a:solidFill>
                <a:srgbClr val="393738"/>
              </a:solidFill>
              <a:latin typeface="배달의민족 한나" pitchFamily="2" charset="-127"/>
              <a:ea typeface="배달의민족 한나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4123684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직선 연결선 3"/>
          <p:cNvCxnSpPr/>
          <p:nvPr/>
        </p:nvCxnSpPr>
        <p:spPr>
          <a:xfrm>
            <a:off x="179512" y="236354"/>
            <a:ext cx="446400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/>
          <p:cNvSpPr txBox="1">
            <a:spLocks noChangeArrowheads="1"/>
          </p:cNvSpPr>
          <p:nvPr/>
        </p:nvSpPr>
        <p:spPr bwMode="auto">
          <a:xfrm>
            <a:off x="35496" y="182250"/>
            <a:ext cx="2736304" cy="144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42900" indent="-342900"/>
            <a:r>
              <a:rPr lang="en-US" altLang="ko-KR" sz="8800" dirty="0">
                <a:solidFill>
                  <a:srgbClr val="393738"/>
                </a:solidFill>
                <a:latin typeface="나눔고딕 ExtraBold" pitchFamily="50" charset="-127"/>
                <a:ea typeface="나눔고딕 ExtraBold" pitchFamily="50" charset="-127"/>
              </a:rPr>
              <a:t>2</a:t>
            </a:r>
            <a:endParaRPr lang="en-US" altLang="ko-KR" sz="8800" dirty="0" smtClean="0">
              <a:solidFill>
                <a:srgbClr val="393738"/>
              </a:solidFill>
              <a:latin typeface="나눔고딕 ExtraBold" pitchFamily="50" charset="-127"/>
              <a:ea typeface="나눔고딕 ExtraBold" pitchFamily="50" charset="-127"/>
            </a:endParaRPr>
          </a:p>
        </p:txBody>
      </p:sp>
      <p:cxnSp>
        <p:nvCxnSpPr>
          <p:cNvPr id="6" name="직선 연결선 5"/>
          <p:cNvCxnSpPr/>
          <p:nvPr/>
        </p:nvCxnSpPr>
        <p:spPr>
          <a:xfrm>
            <a:off x="179512" y="1556792"/>
            <a:ext cx="446400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5"/>
          <p:cNvSpPr txBox="1">
            <a:spLocks noChangeArrowheads="1"/>
          </p:cNvSpPr>
          <p:nvPr/>
        </p:nvSpPr>
        <p:spPr bwMode="auto">
          <a:xfrm>
            <a:off x="827584" y="908720"/>
            <a:ext cx="4176464" cy="3103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t">
            <a:spAutoFit/>
          </a:bodyPr>
          <a:lstStyle/>
          <a:p>
            <a:pPr marL="342900" indent="-342900">
              <a:lnSpc>
                <a:spcPts val="1700"/>
              </a:lnSpc>
            </a:pPr>
            <a:r>
              <a:rPr lang="en-US" altLang="ko-KR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바른고딕" pitchFamily="50" charset="-127"/>
                <a:ea typeface="나눔바른고딕" pitchFamily="50" charset="-127"/>
              </a:rPr>
              <a:t>Overview</a:t>
            </a:r>
            <a:endParaRPr lang="en-US" altLang="ko-KR" sz="1400" dirty="0">
              <a:solidFill>
                <a:schemeClr val="tx1">
                  <a:lumMod val="65000"/>
                  <a:lumOff val="35000"/>
                </a:schemeClr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17" name="Rectangle 3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95536" y="2238148"/>
            <a:ext cx="8352928" cy="41143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72000" tIns="0" rIns="0" bIns="0"/>
          <a:lstStyle/>
          <a:p>
            <a:pPr marL="85725">
              <a:lnSpc>
                <a:spcPct val="150000"/>
              </a:lnSpc>
              <a:spcAft>
                <a:spcPct val="20000"/>
              </a:spcAft>
              <a:defRPr/>
            </a:pPr>
            <a:endParaRPr kumimoji="0" lang="en-US" altLang="ko-KR" sz="1600" b="1" kern="0" dirty="0">
              <a:ln>
                <a:solidFill>
                  <a:srgbClr val="383637"/>
                </a:solidFill>
              </a:ln>
              <a:latin typeface="+mn-ea"/>
              <a:ea typeface="+mn-ea"/>
            </a:endParaRPr>
          </a:p>
        </p:txBody>
      </p:sp>
      <p:sp>
        <p:nvSpPr>
          <p:cNvPr id="11" name="TextBox 25"/>
          <p:cNvSpPr txBox="1">
            <a:spLocks noChangeArrowheads="1"/>
          </p:cNvSpPr>
          <p:nvPr/>
        </p:nvSpPr>
        <p:spPr bwMode="auto">
          <a:xfrm>
            <a:off x="179512" y="1685074"/>
            <a:ext cx="216024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42900" indent="-342900" algn="ctr"/>
            <a:r>
              <a:rPr lang="en-US" altLang="ko-KR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□ </a:t>
            </a:r>
            <a:r>
              <a:rPr lang="ko-KR" altLang="en-US" sz="2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배달의민족 한나" pitchFamily="2" charset="-127"/>
                <a:ea typeface="배달의민족 한나" pitchFamily="2" charset="-127"/>
              </a:rPr>
              <a:t>음향인식</a:t>
            </a:r>
            <a:r>
              <a:rPr lang="ko-KR" alt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배달의민족 한나" pitchFamily="2" charset="-127"/>
                <a:ea typeface="배달의민족 한나" pitchFamily="2" charset="-127"/>
              </a:rPr>
              <a:t> 모델</a:t>
            </a:r>
            <a:r>
              <a:rPr lang="en-US" altLang="ko-KR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배달의민족 한나" pitchFamily="2" charset="-127"/>
                <a:ea typeface="배달의민족 한나" pitchFamily="2" charset="-127"/>
              </a:rPr>
              <a:t> </a:t>
            </a:r>
            <a:endParaRPr lang="ko-KR" altLang="en-US" sz="2400" dirty="0" smtClean="0">
              <a:solidFill>
                <a:schemeClr val="tx1">
                  <a:lumMod val="75000"/>
                  <a:lumOff val="25000"/>
                </a:schemeClr>
              </a:solidFill>
              <a:latin typeface="배달의민족 한나" pitchFamily="2" charset="-127"/>
              <a:ea typeface="배달의민족 한나" pitchFamily="2" charset="-127"/>
            </a:endParaRPr>
          </a:p>
        </p:txBody>
      </p:sp>
      <p:grpSp>
        <p:nvGrpSpPr>
          <p:cNvPr id="12" name="그룹 11"/>
          <p:cNvGrpSpPr/>
          <p:nvPr/>
        </p:nvGrpSpPr>
        <p:grpSpPr>
          <a:xfrm>
            <a:off x="246705" y="2365458"/>
            <a:ext cx="2952328" cy="1714309"/>
            <a:chOff x="179512" y="2146739"/>
            <a:chExt cx="5256584" cy="1714309"/>
          </a:xfrm>
        </p:grpSpPr>
        <p:sp>
          <p:nvSpPr>
            <p:cNvPr id="7" name="직사각형 6"/>
            <p:cNvSpPr/>
            <p:nvPr/>
          </p:nvSpPr>
          <p:spPr>
            <a:xfrm>
              <a:off x="395537" y="2768256"/>
              <a:ext cx="4655931" cy="400110"/>
            </a:xfrm>
            <a:prstGeom prst="rect">
              <a:avLst/>
            </a:prstGeom>
            <a:ln>
              <a:solidFill>
                <a:schemeClr val="tx1"/>
              </a:solidFill>
            </a:ln>
          </p:spPr>
          <p:txBody>
            <a:bodyPr wrap="square">
              <a:spAutoFit/>
            </a:bodyPr>
            <a:lstStyle/>
            <a:p>
              <a:r>
                <a:rPr lang="en-US" altLang="ko-KR" sz="2000" b="1" dirty="0" smtClean="0">
                  <a:solidFill>
                    <a:srgbClr val="393738"/>
                  </a:solidFill>
                  <a:latin typeface="맑은 고딕" panose="020B0503020000020004" pitchFamily="50" charset="-127"/>
                </a:rPr>
                <a:t>HHHUU_LL_LLLOOO</a:t>
              </a:r>
              <a:endParaRPr lang="en-US" altLang="ko-KR" sz="2000" b="1" dirty="0">
                <a:solidFill>
                  <a:srgbClr val="393738"/>
                </a:solidFill>
                <a:latin typeface="맑은 고딕" panose="020B0503020000020004" pitchFamily="50" charset="-127"/>
              </a:endParaRPr>
            </a:p>
          </p:txBody>
        </p:sp>
        <p:sp>
          <p:nvSpPr>
            <p:cNvPr id="8" name="직사각형 7"/>
            <p:cNvSpPr/>
            <p:nvPr/>
          </p:nvSpPr>
          <p:spPr>
            <a:xfrm>
              <a:off x="395537" y="2232517"/>
              <a:ext cx="4655931" cy="400110"/>
            </a:xfrm>
            <a:prstGeom prst="rect">
              <a:avLst/>
            </a:prstGeom>
            <a:ln>
              <a:solidFill>
                <a:schemeClr val="tx1"/>
              </a:solidFill>
            </a:ln>
          </p:spPr>
          <p:txBody>
            <a:bodyPr wrap="square">
              <a:spAutoFit/>
            </a:bodyPr>
            <a:lstStyle/>
            <a:p>
              <a:r>
                <a:rPr lang="en-US" altLang="ko-KR" sz="2000" b="1" dirty="0" smtClean="0">
                  <a:solidFill>
                    <a:srgbClr val="393738"/>
                  </a:solidFill>
                  <a:latin typeface="맑은 고딕" panose="020B0503020000020004" pitchFamily="50" charset="-127"/>
                </a:rPr>
                <a:t>HHHEE_LL_LLLOOO</a:t>
              </a:r>
              <a:endParaRPr lang="en-US" altLang="ko-KR" sz="2000" b="1" dirty="0">
                <a:solidFill>
                  <a:srgbClr val="393738"/>
                </a:solidFill>
                <a:latin typeface="맑은 고딕" panose="020B0503020000020004" pitchFamily="50" charset="-127"/>
              </a:endParaRPr>
            </a:p>
          </p:txBody>
        </p:sp>
        <p:sp>
          <p:nvSpPr>
            <p:cNvPr id="9" name="직사각형 8"/>
            <p:cNvSpPr/>
            <p:nvPr/>
          </p:nvSpPr>
          <p:spPr>
            <a:xfrm>
              <a:off x="395535" y="3287038"/>
              <a:ext cx="4784140" cy="400110"/>
            </a:xfrm>
            <a:prstGeom prst="rect">
              <a:avLst/>
            </a:prstGeom>
            <a:ln>
              <a:solidFill>
                <a:schemeClr val="tx1"/>
              </a:solidFill>
            </a:ln>
          </p:spPr>
          <p:txBody>
            <a:bodyPr wrap="square">
              <a:spAutoFit/>
            </a:bodyPr>
            <a:lstStyle/>
            <a:p>
              <a:r>
                <a:rPr lang="en-US" altLang="ko-KR" sz="2000" b="1" dirty="0" smtClean="0">
                  <a:solidFill>
                    <a:srgbClr val="393738"/>
                  </a:solidFill>
                  <a:latin typeface="맑은 고딕" panose="020B0503020000020004" pitchFamily="50" charset="-127"/>
                </a:rPr>
                <a:t>AAAUU_LL_LLLOOO</a:t>
              </a:r>
              <a:endParaRPr lang="en-US" altLang="ko-KR" sz="2000" b="1" dirty="0">
                <a:solidFill>
                  <a:srgbClr val="393738"/>
                </a:solidFill>
                <a:latin typeface="맑은 고딕" panose="020B0503020000020004" pitchFamily="50" charset="-127"/>
              </a:endParaRPr>
            </a:p>
          </p:txBody>
        </p:sp>
        <p:sp>
          <p:nvSpPr>
            <p:cNvPr id="10" name="직사각형 9"/>
            <p:cNvSpPr/>
            <p:nvPr/>
          </p:nvSpPr>
          <p:spPr>
            <a:xfrm>
              <a:off x="179512" y="2146739"/>
              <a:ext cx="5256584" cy="1714309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grpSp>
        <p:nvGrpSpPr>
          <p:cNvPr id="16" name="그룹 15"/>
          <p:cNvGrpSpPr/>
          <p:nvPr/>
        </p:nvGrpSpPr>
        <p:grpSpPr>
          <a:xfrm>
            <a:off x="4952357" y="2365458"/>
            <a:ext cx="2952328" cy="1714309"/>
            <a:chOff x="179512" y="2146739"/>
            <a:chExt cx="5256584" cy="1714309"/>
          </a:xfrm>
        </p:grpSpPr>
        <p:sp>
          <p:nvSpPr>
            <p:cNvPr id="18" name="직사각형 17"/>
            <p:cNvSpPr/>
            <p:nvPr/>
          </p:nvSpPr>
          <p:spPr>
            <a:xfrm>
              <a:off x="1854805" y="2806527"/>
              <a:ext cx="2228524" cy="400110"/>
            </a:xfrm>
            <a:prstGeom prst="rect">
              <a:avLst/>
            </a:prstGeom>
            <a:ln>
              <a:solidFill>
                <a:schemeClr val="tx1"/>
              </a:solidFill>
            </a:ln>
          </p:spPr>
          <p:txBody>
            <a:bodyPr wrap="square">
              <a:spAutoFit/>
            </a:bodyPr>
            <a:lstStyle/>
            <a:p>
              <a:r>
                <a:rPr lang="en-US" altLang="ko-KR" sz="2000" b="1" dirty="0" smtClean="0">
                  <a:solidFill>
                    <a:srgbClr val="393738"/>
                  </a:solidFill>
                  <a:latin typeface="맑은 고딕" panose="020B0503020000020004" pitchFamily="50" charset="-127"/>
                </a:rPr>
                <a:t>HU_L_LO</a:t>
              </a:r>
              <a:endParaRPr lang="en-US" altLang="ko-KR" sz="2000" b="1" dirty="0">
                <a:solidFill>
                  <a:srgbClr val="393738"/>
                </a:solidFill>
                <a:latin typeface="맑은 고딕" panose="020B0503020000020004" pitchFamily="50" charset="-127"/>
              </a:endParaRPr>
            </a:p>
          </p:txBody>
        </p:sp>
        <p:sp>
          <p:nvSpPr>
            <p:cNvPr id="19" name="직사각형 18"/>
            <p:cNvSpPr/>
            <p:nvPr/>
          </p:nvSpPr>
          <p:spPr>
            <a:xfrm>
              <a:off x="1854805" y="2270788"/>
              <a:ext cx="2228524" cy="400110"/>
            </a:xfrm>
            <a:prstGeom prst="rect">
              <a:avLst/>
            </a:prstGeom>
            <a:ln>
              <a:solidFill>
                <a:schemeClr val="tx1"/>
              </a:solidFill>
            </a:ln>
          </p:spPr>
          <p:txBody>
            <a:bodyPr wrap="square">
              <a:spAutoFit/>
            </a:bodyPr>
            <a:lstStyle/>
            <a:p>
              <a:r>
                <a:rPr lang="en-US" altLang="ko-KR" sz="2000" b="1" dirty="0" smtClean="0">
                  <a:solidFill>
                    <a:srgbClr val="393738"/>
                  </a:solidFill>
                  <a:latin typeface="맑은 고딕" panose="020B0503020000020004" pitchFamily="50" charset="-127"/>
                </a:rPr>
                <a:t>HE_L_LO</a:t>
              </a:r>
              <a:endParaRPr lang="en-US" altLang="ko-KR" sz="2000" b="1" dirty="0">
                <a:solidFill>
                  <a:srgbClr val="393738"/>
                </a:solidFill>
                <a:latin typeface="맑은 고딕" panose="020B0503020000020004" pitchFamily="50" charset="-127"/>
              </a:endParaRPr>
            </a:p>
          </p:txBody>
        </p:sp>
        <p:sp>
          <p:nvSpPr>
            <p:cNvPr id="20" name="직사각형 19"/>
            <p:cNvSpPr/>
            <p:nvPr/>
          </p:nvSpPr>
          <p:spPr>
            <a:xfrm>
              <a:off x="1854805" y="3325309"/>
              <a:ext cx="2228524" cy="400110"/>
            </a:xfrm>
            <a:prstGeom prst="rect">
              <a:avLst/>
            </a:prstGeom>
            <a:ln>
              <a:solidFill>
                <a:schemeClr val="tx1"/>
              </a:solidFill>
            </a:ln>
          </p:spPr>
          <p:txBody>
            <a:bodyPr wrap="square">
              <a:spAutoFit/>
            </a:bodyPr>
            <a:lstStyle/>
            <a:p>
              <a:r>
                <a:rPr lang="en-US" altLang="ko-KR" sz="2000" b="1" dirty="0" smtClean="0">
                  <a:solidFill>
                    <a:srgbClr val="393738"/>
                  </a:solidFill>
                  <a:latin typeface="맑은 고딕" panose="020B0503020000020004" pitchFamily="50" charset="-127"/>
                </a:rPr>
                <a:t>AU_L_LO</a:t>
              </a:r>
              <a:endParaRPr lang="en-US" altLang="ko-KR" sz="2000" b="1" dirty="0">
                <a:solidFill>
                  <a:srgbClr val="393738"/>
                </a:solidFill>
                <a:latin typeface="맑은 고딕" panose="020B0503020000020004" pitchFamily="50" charset="-127"/>
              </a:endParaRPr>
            </a:p>
          </p:txBody>
        </p:sp>
        <p:sp>
          <p:nvSpPr>
            <p:cNvPr id="22" name="직사각형 21"/>
            <p:cNvSpPr/>
            <p:nvPr/>
          </p:nvSpPr>
          <p:spPr>
            <a:xfrm>
              <a:off x="179512" y="2146739"/>
              <a:ext cx="5256584" cy="1714309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sp>
        <p:nvSpPr>
          <p:cNvPr id="14" name="오른쪽 화살표 13"/>
          <p:cNvSpPr/>
          <p:nvPr/>
        </p:nvSpPr>
        <p:spPr>
          <a:xfrm>
            <a:off x="3320361" y="2986975"/>
            <a:ext cx="1323151" cy="400110"/>
          </a:xfrm>
          <a:prstGeom prst="rightArrow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3" name="오른쪽 화살표 22"/>
          <p:cNvSpPr/>
          <p:nvPr/>
        </p:nvSpPr>
        <p:spPr>
          <a:xfrm>
            <a:off x="399718" y="5373216"/>
            <a:ext cx="1323151" cy="400110"/>
          </a:xfrm>
          <a:prstGeom prst="rightArrow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24" name="그룹 23"/>
          <p:cNvGrpSpPr/>
          <p:nvPr/>
        </p:nvGrpSpPr>
        <p:grpSpPr>
          <a:xfrm>
            <a:off x="2195736" y="4716116"/>
            <a:ext cx="2952328" cy="1714309"/>
            <a:chOff x="179512" y="2146739"/>
            <a:chExt cx="5256584" cy="1714309"/>
          </a:xfrm>
        </p:grpSpPr>
        <p:sp>
          <p:nvSpPr>
            <p:cNvPr id="25" name="직사각형 24"/>
            <p:cNvSpPr/>
            <p:nvPr/>
          </p:nvSpPr>
          <p:spPr>
            <a:xfrm>
              <a:off x="1854805" y="2806527"/>
              <a:ext cx="2228524" cy="400110"/>
            </a:xfrm>
            <a:prstGeom prst="rect">
              <a:avLst/>
            </a:prstGeom>
            <a:ln>
              <a:solidFill>
                <a:schemeClr val="tx1"/>
              </a:solidFill>
            </a:ln>
          </p:spPr>
          <p:txBody>
            <a:bodyPr wrap="square">
              <a:spAutoFit/>
            </a:bodyPr>
            <a:lstStyle/>
            <a:p>
              <a:r>
                <a:rPr lang="en-US" altLang="ko-KR" sz="2000" b="1" dirty="0" smtClean="0">
                  <a:solidFill>
                    <a:srgbClr val="393738"/>
                  </a:solidFill>
                  <a:latin typeface="맑은 고딕" panose="020B0503020000020004" pitchFamily="50" charset="-127"/>
                </a:rPr>
                <a:t>HULLO</a:t>
              </a:r>
              <a:endParaRPr lang="en-US" altLang="ko-KR" sz="2000" b="1" dirty="0">
                <a:solidFill>
                  <a:srgbClr val="393738"/>
                </a:solidFill>
                <a:latin typeface="맑은 고딕" panose="020B0503020000020004" pitchFamily="50" charset="-127"/>
              </a:endParaRPr>
            </a:p>
          </p:txBody>
        </p:sp>
        <p:sp>
          <p:nvSpPr>
            <p:cNvPr id="26" name="직사각형 25"/>
            <p:cNvSpPr/>
            <p:nvPr/>
          </p:nvSpPr>
          <p:spPr>
            <a:xfrm>
              <a:off x="1854805" y="2270788"/>
              <a:ext cx="2228524" cy="400110"/>
            </a:xfrm>
            <a:prstGeom prst="rect">
              <a:avLst/>
            </a:prstGeom>
            <a:ln>
              <a:solidFill>
                <a:schemeClr val="tx1"/>
              </a:solidFill>
            </a:ln>
          </p:spPr>
          <p:txBody>
            <a:bodyPr wrap="square">
              <a:spAutoFit/>
            </a:bodyPr>
            <a:lstStyle/>
            <a:p>
              <a:r>
                <a:rPr lang="en-US" altLang="ko-KR" sz="2000" b="1" dirty="0" smtClean="0">
                  <a:solidFill>
                    <a:srgbClr val="393738"/>
                  </a:solidFill>
                  <a:latin typeface="맑은 고딕" panose="020B0503020000020004" pitchFamily="50" charset="-127"/>
                </a:rPr>
                <a:t>HELLO</a:t>
              </a:r>
              <a:endParaRPr lang="en-US" altLang="ko-KR" sz="2000" b="1" dirty="0">
                <a:solidFill>
                  <a:srgbClr val="393738"/>
                </a:solidFill>
                <a:latin typeface="맑은 고딕" panose="020B0503020000020004" pitchFamily="50" charset="-127"/>
              </a:endParaRPr>
            </a:p>
          </p:txBody>
        </p:sp>
        <p:sp>
          <p:nvSpPr>
            <p:cNvPr id="27" name="직사각형 26"/>
            <p:cNvSpPr/>
            <p:nvPr/>
          </p:nvSpPr>
          <p:spPr>
            <a:xfrm>
              <a:off x="1854805" y="3325309"/>
              <a:ext cx="2228524" cy="400110"/>
            </a:xfrm>
            <a:prstGeom prst="rect">
              <a:avLst/>
            </a:prstGeom>
            <a:ln>
              <a:solidFill>
                <a:schemeClr val="tx1"/>
              </a:solidFill>
            </a:ln>
          </p:spPr>
          <p:txBody>
            <a:bodyPr wrap="square">
              <a:spAutoFit/>
            </a:bodyPr>
            <a:lstStyle/>
            <a:p>
              <a:r>
                <a:rPr lang="en-US" altLang="ko-KR" sz="2000" b="1" dirty="0" smtClean="0">
                  <a:solidFill>
                    <a:srgbClr val="393738"/>
                  </a:solidFill>
                  <a:latin typeface="맑은 고딕" panose="020B0503020000020004" pitchFamily="50" charset="-127"/>
                </a:rPr>
                <a:t>AULLO</a:t>
              </a:r>
              <a:endParaRPr lang="en-US" altLang="ko-KR" sz="2000" b="1" dirty="0">
                <a:solidFill>
                  <a:srgbClr val="393738"/>
                </a:solidFill>
                <a:latin typeface="맑은 고딕" panose="020B0503020000020004" pitchFamily="50" charset="-127"/>
              </a:endParaRPr>
            </a:p>
          </p:txBody>
        </p:sp>
        <p:sp>
          <p:nvSpPr>
            <p:cNvPr id="28" name="직사각형 27"/>
            <p:cNvSpPr/>
            <p:nvPr/>
          </p:nvSpPr>
          <p:spPr>
            <a:xfrm>
              <a:off x="179512" y="2146739"/>
              <a:ext cx="5256584" cy="1714309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sp>
        <p:nvSpPr>
          <p:cNvPr id="29" name="TextBox 28"/>
          <p:cNvSpPr txBox="1"/>
          <p:nvPr/>
        </p:nvSpPr>
        <p:spPr>
          <a:xfrm>
            <a:off x="3329068" y="2708338"/>
            <a:ext cx="118974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 smtClean="0"/>
              <a:t>중복 제거</a:t>
            </a:r>
            <a:endParaRPr lang="ko-KR" altLang="en-US" dirty="0"/>
          </a:p>
        </p:txBody>
      </p:sp>
      <p:sp>
        <p:nvSpPr>
          <p:cNvPr id="35" name="TextBox 34"/>
          <p:cNvSpPr txBox="1"/>
          <p:nvPr/>
        </p:nvSpPr>
        <p:spPr>
          <a:xfrm>
            <a:off x="466418" y="5055609"/>
            <a:ext cx="118974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 smtClean="0"/>
              <a:t>공백 제거</a:t>
            </a:r>
            <a:endParaRPr lang="ko-KR" altLang="en-US" dirty="0"/>
          </a:p>
        </p:txBody>
      </p:sp>
      <p:sp>
        <p:nvSpPr>
          <p:cNvPr id="36" name="TextBox 25"/>
          <p:cNvSpPr txBox="1">
            <a:spLocks noChangeArrowheads="1"/>
          </p:cNvSpPr>
          <p:nvPr/>
        </p:nvSpPr>
        <p:spPr bwMode="auto">
          <a:xfrm>
            <a:off x="755576" y="404664"/>
            <a:ext cx="3168352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42900" indent="-342900"/>
            <a:r>
              <a:rPr lang="ko-KR" altLang="en-US" sz="2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배달의민족 한나" pitchFamily="2" charset="-127"/>
                <a:ea typeface="배달의민족 한나" pitchFamily="2" charset="-127"/>
              </a:rPr>
              <a:t>음성 인식 모델</a:t>
            </a:r>
            <a:endParaRPr lang="en-US" altLang="ko-KR" sz="2800" dirty="0" smtClean="0">
              <a:solidFill>
                <a:srgbClr val="393738"/>
              </a:solidFill>
              <a:latin typeface="배달의민족 한나" pitchFamily="2" charset="-127"/>
              <a:ea typeface="배달의민족 한나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4285603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직선 연결선 3"/>
          <p:cNvCxnSpPr/>
          <p:nvPr/>
        </p:nvCxnSpPr>
        <p:spPr>
          <a:xfrm>
            <a:off x="179512" y="236354"/>
            <a:ext cx="446400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/>
          <p:cNvSpPr txBox="1">
            <a:spLocks noChangeArrowheads="1"/>
          </p:cNvSpPr>
          <p:nvPr/>
        </p:nvSpPr>
        <p:spPr bwMode="auto">
          <a:xfrm>
            <a:off x="35496" y="182250"/>
            <a:ext cx="2736304" cy="144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42900" indent="-342900"/>
            <a:r>
              <a:rPr lang="en-US" altLang="ko-KR" sz="8800" dirty="0">
                <a:solidFill>
                  <a:srgbClr val="393738"/>
                </a:solidFill>
                <a:latin typeface="나눔고딕 ExtraBold" pitchFamily="50" charset="-127"/>
                <a:ea typeface="나눔고딕 ExtraBold" pitchFamily="50" charset="-127"/>
              </a:rPr>
              <a:t>2</a:t>
            </a:r>
            <a:endParaRPr lang="en-US" altLang="ko-KR" sz="8800" dirty="0" smtClean="0">
              <a:solidFill>
                <a:srgbClr val="393738"/>
              </a:solidFill>
              <a:latin typeface="나눔고딕 ExtraBold" pitchFamily="50" charset="-127"/>
              <a:ea typeface="나눔고딕 ExtraBold" pitchFamily="50" charset="-127"/>
            </a:endParaRPr>
          </a:p>
        </p:txBody>
      </p:sp>
      <p:cxnSp>
        <p:nvCxnSpPr>
          <p:cNvPr id="6" name="직선 연결선 5"/>
          <p:cNvCxnSpPr/>
          <p:nvPr/>
        </p:nvCxnSpPr>
        <p:spPr>
          <a:xfrm>
            <a:off x="179512" y="1556792"/>
            <a:ext cx="446400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5"/>
          <p:cNvSpPr txBox="1">
            <a:spLocks noChangeArrowheads="1"/>
          </p:cNvSpPr>
          <p:nvPr/>
        </p:nvSpPr>
        <p:spPr bwMode="auto">
          <a:xfrm>
            <a:off x="827584" y="908720"/>
            <a:ext cx="4176464" cy="3103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t">
            <a:spAutoFit/>
          </a:bodyPr>
          <a:lstStyle/>
          <a:p>
            <a:pPr marL="342900" indent="-342900">
              <a:lnSpc>
                <a:spcPts val="1700"/>
              </a:lnSpc>
            </a:pPr>
            <a:r>
              <a:rPr lang="en-US" altLang="ko-KR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바른고딕" pitchFamily="50" charset="-127"/>
                <a:ea typeface="나눔바른고딕" pitchFamily="50" charset="-127"/>
              </a:rPr>
              <a:t>Overview</a:t>
            </a:r>
            <a:endParaRPr lang="en-US" altLang="ko-KR" sz="1400" dirty="0">
              <a:solidFill>
                <a:schemeClr val="tx1">
                  <a:lumMod val="65000"/>
                  <a:lumOff val="35000"/>
                </a:schemeClr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11" name="TextBox 25"/>
          <p:cNvSpPr txBox="1">
            <a:spLocks noChangeArrowheads="1"/>
          </p:cNvSpPr>
          <p:nvPr/>
        </p:nvSpPr>
        <p:spPr bwMode="auto">
          <a:xfrm>
            <a:off x="179512" y="1685074"/>
            <a:ext cx="216024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42900" indent="-342900" algn="ctr"/>
            <a:r>
              <a:rPr lang="en-US" altLang="ko-KR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□ </a:t>
            </a:r>
            <a:r>
              <a:rPr lang="ko-KR" altLang="en-US" sz="2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배달의민족 한나" pitchFamily="2" charset="-127"/>
                <a:ea typeface="배달의민족 한나" pitchFamily="2" charset="-127"/>
              </a:rPr>
              <a:t>언어</a:t>
            </a:r>
            <a:r>
              <a:rPr lang="ko-KR" altLang="en-US" sz="2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배달의민족 한나" pitchFamily="2" charset="-127"/>
                <a:ea typeface="배달의민족 한나" pitchFamily="2" charset="-127"/>
              </a:rPr>
              <a:t>인식</a:t>
            </a:r>
            <a:r>
              <a:rPr lang="ko-KR" alt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배달의민족 한나" pitchFamily="2" charset="-127"/>
                <a:ea typeface="배달의민족 한나" pitchFamily="2" charset="-127"/>
              </a:rPr>
              <a:t> 모델</a:t>
            </a:r>
            <a:r>
              <a:rPr lang="en-US" altLang="ko-KR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배달의민족 한나" pitchFamily="2" charset="-127"/>
                <a:ea typeface="배달의민족 한나" pitchFamily="2" charset="-127"/>
              </a:rPr>
              <a:t> </a:t>
            </a:r>
            <a:endParaRPr lang="ko-KR" altLang="en-US" sz="2400" dirty="0" smtClean="0">
              <a:solidFill>
                <a:schemeClr val="tx1">
                  <a:lumMod val="75000"/>
                  <a:lumOff val="25000"/>
                </a:schemeClr>
              </a:solidFill>
              <a:latin typeface="배달의민족 한나" pitchFamily="2" charset="-127"/>
              <a:ea typeface="배달의민족 한나" pitchFamily="2" charset="-127"/>
            </a:endParaRPr>
          </a:p>
        </p:txBody>
      </p:sp>
      <p:grpSp>
        <p:nvGrpSpPr>
          <p:cNvPr id="30" name="그룹 29"/>
          <p:cNvGrpSpPr/>
          <p:nvPr/>
        </p:nvGrpSpPr>
        <p:grpSpPr>
          <a:xfrm>
            <a:off x="368454" y="3429000"/>
            <a:ext cx="7848872" cy="1714309"/>
            <a:chOff x="179512" y="2146739"/>
            <a:chExt cx="5256584" cy="1714309"/>
          </a:xfrm>
        </p:grpSpPr>
        <p:sp>
          <p:nvSpPr>
            <p:cNvPr id="31" name="직사각형 30"/>
            <p:cNvSpPr/>
            <p:nvPr/>
          </p:nvSpPr>
          <p:spPr>
            <a:xfrm>
              <a:off x="328380" y="2806527"/>
              <a:ext cx="3754949" cy="369332"/>
            </a:xfrm>
            <a:prstGeom prst="rect">
              <a:avLst/>
            </a:prstGeom>
            <a:ln>
              <a:solidFill>
                <a:schemeClr val="tx1"/>
              </a:solidFill>
            </a:ln>
          </p:spPr>
          <p:txBody>
            <a:bodyPr wrap="square">
              <a:spAutoFit/>
            </a:bodyPr>
            <a:lstStyle/>
            <a:p>
              <a:r>
                <a:rPr lang="ko-KR" altLang="en-US" dirty="0"/>
                <a:t>나는 학교에 </a:t>
              </a:r>
              <a:r>
                <a:rPr lang="ko-KR" altLang="en-US" dirty="0" err="1" smtClean="0"/>
                <a:t>칸다</a:t>
              </a:r>
              <a:r>
                <a:rPr lang="en-US" altLang="ko-KR" dirty="0" smtClean="0"/>
                <a:t>.</a:t>
              </a:r>
              <a:endParaRPr lang="en-US" altLang="ko-KR" sz="2000" b="1" dirty="0">
                <a:solidFill>
                  <a:srgbClr val="393738"/>
                </a:solidFill>
                <a:latin typeface="맑은 고딕" panose="020B0503020000020004" pitchFamily="50" charset="-127"/>
              </a:endParaRPr>
            </a:p>
          </p:txBody>
        </p:sp>
        <p:sp>
          <p:nvSpPr>
            <p:cNvPr id="32" name="직사각형 31"/>
            <p:cNvSpPr/>
            <p:nvPr/>
          </p:nvSpPr>
          <p:spPr>
            <a:xfrm>
              <a:off x="328380" y="2270788"/>
              <a:ext cx="3754949" cy="369332"/>
            </a:xfrm>
            <a:prstGeom prst="rect">
              <a:avLst/>
            </a:prstGeom>
            <a:ln>
              <a:solidFill>
                <a:schemeClr val="tx1"/>
              </a:solidFill>
            </a:ln>
          </p:spPr>
          <p:txBody>
            <a:bodyPr wrap="square">
              <a:spAutoFit/>
            </a:bodyPr>
            <a:lstStyle/>
            <a:p>
              <a:r>
                <a:rPr lang="ko-KR" altLang="en-US" dirty="0"/>
                <a:t>나는 학교에 </a:t>
              </a:r>
              <a:r>
                <a:rPr lang="ko-KR" altLang="en-US" dirty="0" smtClean="0"/>
                <a:t>간다</a:t>
              </a:r>
              <a:r>
                <a:rPr lang="en-US" altLang="ko-KR" dirty="0" smtClean="0"/>
                <a:t>.</a:t>
              </a:r>
              <a:endParaRPr lang="en-US" altLang="ko-KR" sz="2000" b="1" dirty="0">
                <a:solidFill>
                  <a:srgbClr val="393738"/>
                </a:solidFill>
                <a:latin typeface="맑은 고딕" panose="020B0503020000020004" pitchFamily="50" charset="-127"/>
              </a:endParaRPr>
            </a:p>
          </p:txBody>
        </p:sp>
        <p:sp>
          <p:nvSpPr>
            <p:cNvPr id="33" name="직사각형 32"/>
            <p:cNvSpPr/>
            <p:nvPr/>
          </p:nvSpPr>
          <p:spPr>
            <a:xfrm>
              <a:off x="328380" y="3325309"/>
              <a:ext cx="3754949" cy="369332"/>
            </a:xfrm>
            <a:prstGeom prst="rect">
              <a:avLst/>
            </a:prstGeom>
            <a:ln>
              <a:solidFill>
                <a:schemeClr val="tx1"/>
              </a:solidFill>
            </a:ln>
          </p:spPr>
          <p:txBody>
            <a:bodyPr wrap="square">
              <a:spAutoFit/>
            </a:bodyPr>
            <a:lstStyle/>
            <a:p>
              <a:r>
                <a:rPr lang="ko-KR" altLang="en-US" dirty="0"/>
                <a:t>나는 학교에 </a:t>
              </a:r>
              <a:r>
                <a:rPr lang="ko-KR" altLang="en-US" dirty="0" smtClean="0"/>
                <a:t>킨다</a:t>
              </a:r>
              <a:r>
                <a:rPr lang="en-US" altLang="ko-KR" dirty="0" smtClean="0"/>
                <a:t>.</a:t>
              </a:r>
              <a:endParaRPr lang="en-US" altLang="ko-KR" sz="2000" b="1" dirty="0">
                <a:solidFill>
                  <a:srgbClr val="393738"/>
                </a:solidFill>
                <a:latin typeface="맑은 고딕" panose="020B0503020000020004" pitchFamily="50" charset="-127"/>
              </a:endParaRPr>
            </a:p>
          </p:txBody>
        </p:sp>
        <p:sp>
          <p:nvSpPr>
            <p:cNvPr id="34" name="직사각형 33"/>
            <p:cNvSpPr/>
            <p:nvPr/>
          </p:nvSpPr>
          <p:spPr>
            <a:xfrm>
              <a:off x="179512" y="2146739"/>
              <a:ext cx="5256584" cy="1714309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sp>
        <p:nvSpPr>
          <p:cNvPr id="3" name="직사각형 2"/>
          <p:cNvSpPr/>
          <p:nvPr/>
        </p:nvSpPr>
        <p:spPr>
          <a:xfrm>
            <a:off x="368454" y="2364462"/>
            <a:ext cx="786969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sz="3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배달의민족 한나" pitchFamily="2" charset="-127"/>
                <a:ea typeface="배달의민족 한나" pitchFamily="2" charset="-127"/>
              </a:rPr>
              <a:t>“</a:t>
            </a:r>
            <a:r>
              <a:rPr lang="ko-KR" altLang="en-US" sz="3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배달의민족 한나" pitchFamily="2" charset="-127"/>
                <a:ea typeface="배달의민족 한나" pitchFamily="2" charset="-127"/>
              </a:rPr>
              <a:t>나는 </a:t>
            </a:r>
            <a:r>
              <a:rPr lang="ko-KR" altLang="en-US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배달의민족 한나" pitchFamily="2" charset="-127"/>
                <a:ea typeface="배달의민족 한나" pitchFamily="2" charset="-127"/>
              </a:rPr>
              <a:t>학교에 </a:t>
            </a:r>
            <a:r>
              <a:rPr lang="en-US" altLang="ko-KR" sz="3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배달의민족 한나" pitchFamily="2" charset="-127"/>
                <a:ea typeface="배달의민족 한나" pitchFamily="2" charset="-127"/>
              </a:rPr>
              <a:t>OO.”</a:t>
            </a:r>
            <a:endParaRPr lang="ko-KR" altLang="en-US" sz="3200" dirty="0">
              <a:solidFill>
                <a:schemeClr val="tx1">
                  <a:lumMod val="75000"/>
                  <a:lumOff val="25000"/>
                </a:schemeClr>
              </a:solidFill>
              <a:latin typeface="배달의민족 한나" pitchFamily="2" charset="-127"/>
              <a:ea typeface="배달의민족 한나" pitchFamily="2" charset="-127"/>
            </a:endParaRPr>
          </a:p>
        </p:txBody>
      </p:sp>
      <p:sp>
        <p:nvSpPr>
          <p:cNvPr id="13" name="직사각형 12"/>
          <p:cNvSpPr/>
          <p:nvPr/>
        </p:nvSpPr>
        <p:spPr>
          <a:xfrm>
            <a:off x="590736" y="3553049"/>
            <a:ext cx="5606705" cy="36933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5" name="TextBox 14"/>
          <p:cNvSpPr txBox="1"/>
          <p:nvPr/>
        </p:nvSpPr>
        <p:spPr>
          <a:xfrm>
            <a:off x="6197441" y="3553049"/>
            <a:ext cx="7136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 smtClean="0">
                <a:solidFill>
                  <a:srgbClr val="FF0000"/>
                </a:solidFill>
              </a:rPr>
              <a:t>정답</a:t>
            </a:r>
            <a:r>
              <a:rPr lang="en-US" altLang="ko-KR" dirty="0" smtClean="0">
                <a:solidFill>
                  <a:srgbClr val="FF0000"/>
                </a:solidFill>
              </a:rPr>
              <a:t>!</a:t>
            </a:r>
            <a:endParaRPr lang="ko-KR" altLang="en-US" dirty="0">
              <a:solidFill>
                <a:srgbClr val="FF0000"/>
              </a:solidFill>
            </a:endParaRPr>
          </a:p>
        </p:txBody>
      </p:sp>
      <p:sp>
        <p:nvSpPr>
          <p:cNvPr id="37" name="직사각형 36"/>
          <p:cNvSpPr/>
          <p:nvPr/>
        </p:nvSpPr>
        <p:spPr>
          <a:xfrm>
            <a:off x="390796" y="5461385"/>
            <a:ext cx="786969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ko-KR" altLang="en-US" sz="3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배달의민족 한나" pitchFamily="2" charset="-127"/>
                <a:ea typeface="배달의민족 한나" pitchFamily="2" charset="-127"/>
              </a:rPr>
              <a:t>답정너</a:t>
            </a:r>
            <a:r>
              <a:rPr lang="en-US" altLang="ko-KR" sz="3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배달의민족 한나" pitchFamily="2" charset="-127"/>
                <a:ea typeface="배달의민족 한나" pitchFamily="2" charset="-127"/>
              </a:rPr>
              <a:t>… </a:t>
            </a:r>
            <a:r>
              <a:rPr lang="ko-KR" altLang="en-US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배달의민족 한나" pitchFamily="2" charset="-127"/>
                <a:ea typeface="배달의민족 한나" pitchFamily="2" charset="-127"/>
              </a:rPr>
              <a:t>문</a:t>
            </a:r>
            <a:r>
              <a:rPr lang="ko-KR" altLang="en-US" sz="3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배달의민족 한나" pitchFamily="2" charset="-127"/>
                <a:ea typeface="배달의민족 한나" pitchFamily="2" charset="-127"/>
              </a:rPr>
              <a:t>장을 많이 학습 시키면 됩니다</a:t>
            </a:r>
            <a:r>
              <a:rPr lang="en-US" altLang="ko-KR" sz="3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배달의민족 한나" pitchFamily="2" charset="-127"/>
                <a:ea typeface="배달의민족 한나" pitchFamily="2" charset="-127"/>
              </a:rPr>
              <a:t>.</a:t>
            </a:r>
            <a:endParaRPr lang="ko-KR" altLang="en-US" sz="3200" dirty="0">
              <a:solidFill>
                <a:schemeClr val="tx1">
                  <a:lumMod val="75000"/>
                  <a:lumOff val="25000"/>
                </a:schemeClr>
              </a:solidFill>
              <a:latin typeface="배달의민족 한나" pitchFamily="2" charset="-127"/>
              <a:ea typeface="배달의민족 한나" pitchFamily="2" charset="-127"/>
            </a:endParaRPr>
          </a:p>
        </p:txBody>
      </p:sp>
      <p:sp>
        <p:nvSpPr>
          <p:cNvPr id="38" name="TextBox 25"/>
          <p:cNvSpPr txBox="1">
            <a:spLocks noChangeArrowheads="1"/>
          </p:cNvSpPr>
          <p:nvPr/>
        </p:nvSpPr>
        <p:spPr bwMode="auto">
          <a:xfrm>
            <a:off x="755576" y="404664"/>
            <a:ext cx="3168352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42900" indent="-342900"/>
            <a:r>
              <a:rPr lang="ko-KR" altLang="en-US" sz="2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배달의민족 한나" pitchFamily="2" charset="-127"/>
                <a:ea typeface="배달의민족 한나" pitchFamily="2" charset="-127"/>
              </a:rPr>
              <a:t>음성 인식 모델</a:t>
            </a:r>
            <a:endParaRPr lang="en-US" altLang="ko-KR" sz="2800" dirty="0" smtClean="0">
              <a:solidFill>
                <a:srgbClr val="393738"/>
              </a:solidFill>
              <a:latin typeface="배달의민족 한나" pitchFamily="2" charset="-127"/>
              <a:ea typeface="배달의민족 한나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3291229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5" grpId="0"/>
      <p:bldP spid="37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직선 연결선 3"/>
          <p:cNvCxnSpPr/>
          <p:nvPr/>
        </p:nvCxnSpPr>
        <p:spPr>
          <a:xfrm>
            <a:off x="179512" y="236354"/>
            <a:ext cx="446400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/>
          <p:cNvSpPr txBox="1">
            <a:spLocks noChangeArrowheads="1"/>
          </p:cNvSpPr>
          <p:nvPr/>
        </p:nvSpPr>
        <p:spPr bwMode="auto">
          <a:xfrm>
            <a:off x="35496" y="182250"/>
            <a:ext cx="2736304" cy="144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42900" indent="-342900"/>
            <a:r>
              <a:rPr lang="en-US" altLang="ko-KR" sz="8800" dirty="0">
                <a:solidFill>
                  <a:srgbClr val="393738"/>
                </a:solidFill>
                <a:latin typeface="나눔고딕 ExtraBold" pitchFamily="50" charset="-127"/>
                <a:ea typeface="나눔고딕 ExtraBold" pitchFamily="50" charset="-127"/>
              </a:rPr>
              <a:t>2</a:t>
            </a:r>
            <a:endParaRPr lang="en-US" altLang="ko-KR" sz="8800" dirty="0" smtClean="0">
              <a:solidFill>
                <a:srgbClr val="393738"/>
              </a:solidFill>
              <a:latin typeface="나눔고딕 ExtraBold" pitchFamily="50" charset="-127"/>
              <a:ea typeface="나눔고딕 ExtraBold" pitchFamily="50" charset="-127"/>
            </a:endParaRPr>
          </a:p>
        </p:txBody>
      </p:sp>
      <p:cxnSp>
        <p:nvCxnSpPr>
          <p:cNvPr id="6" name="직선 연결선 5"/>
          <p:cNvCxnSpPr/>
          <p:nvPr/>
        </p:nvCxnSpPr>
        <p:spPr>
          <a:xfrm>
            <a:off x="179512" y="1556792"/>
            <a:ext cx="446400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5"/>
          <p:cNvSpPr txBox="1">
            <a:spLocks noChangeArrowheads="1"/>
          </p:cNvSpPr>
          <p:nvPr/>
        </p:nvSpPr>
        <p:spPr bwMode="auto">
          <a:xfrm>
            <a:off x="827584" y="908720"/>
            <a:ext cx="4176464" cy="3103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t">
            <a:spAutoFit/>
          </a:bodyPr>
          <a:lstStyle/>
          <a:p>
            <a:pPr marL="342900" indent="-342900">
              <a:lnSpc>
                <a:spcPts val="1700"/>
              </a:lnSpc>
            </a:pPr>
            <a:r>
              <a:rPr lang="en-US" altLang="ko-KR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바른고딕" pitchFamily="50" charset="-127"/>
                <a:ea typeface="나눔바른고딕" pitchFamily="50" charset="-127"/>
              </a:rPr>
              <a:t>Overview</a:t>
            </a:r>
            <a:endParaRPr lang="en-US" altLang="ko-KR" sz="1400" dirty="0">
              <a:solidFill>
                <a:schemeClr val="tx1">
                  <a:lumMod val="65000"/>
                  <a:lumOff val="35000"/>
                </a:schemeClr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17" name="Rectangle 3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95536" y="2238148"/>
            <a:ext cx="8352928" cy="41143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72000" tIns="0" rIns="0" bIns="0"/>
          <a:lstStyle/>
          <a:p>
            <a:pPr marL="85725">
              <a:lnSpc>
                <a:spcPct val="150000"/>
              </a:lnSpc>
              <a:spcAft>
                <a:spcPct val="20000"/>
              </a:spcAft>
              <a:defRPr/>
            </a:pPr>
            <a:endParaRPr kumimoji="0" lang="en-US" altLang="ko-KR" sz="1600" b="1" kern="0" dirty="0">
              <a:ln>
                <a:solidFill>
                  <a:srgbClr val="383637"/>
                </a:solidFill>
              </a:ln>
              <a:latin typeface="+mn-ea"/>
              <a:ea typeface="+mn-ea"/>
            </a:endParaRPr>
          </a:p>
        </p:txBody>
      </p:sp>
      <p:sp>
        <p:nvSpPr>
          <p:cNvPr id="31" name="TextBox 25"/>
          <p:cNvSpPr txBox="1">
            <a:spLocks noChangeArrowheads="1"/>
          </p:cNvSpPr>
          <p:nvPr/>
        </p:nvSpPr>
        <p:spPr bwMode="auto">
          <a:xfrm>
            <a:off x="179512" y="1685074"/>
            <a:ext cx="216024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42900" indent="-342900" algn="ctr"/>
            <a:r>
              <a:rPr lang="en-US" altLang="ko-KR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□ </a:t>
            </a:r>
            <a:r>
              <a:rPr lang="ko-KR" alt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배달의민족 한나" pitchFamily="2" charset="-127"/>
                <a:ea typeface="배달의민족 한나" pitchFamily="2" charset="-127"/>
              </a:rPr>
              <a:t>음성인식 모델</a:t>
            </a:r>
            <a:r>
              <a:rPr lang="en-US" altLang="ko-KR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배달의민족 한나" pitchFamily="2" charset="-127"/>
                <a:ea typeface="배달의민족 한나" pitchFamily="2" charset="-127"/>
              </a:rPr>
              <a:t> </a:t>
            </a:r>
            <a:endParaRPr lang="ko-KR" altLang="en-US" sz="2400" dirty="0" smtClean="0">
              <a:solidFill>
                <a:schemeClr val="tx1">
                  <a:lumMod val="75000"/>
                  <a:lumOff val="25000"/>
                </a:schemeClr>
              </a:solidFill>
              <a:latin typeface="배달의민족 한나" pitchFamily="2" charset="-127"/>
              <a:ea typeface="배달의민족 한나" pitchFamily="2" charset="-127"/>
            </a:endParaRPr>
          </a:p>
        </p:txBody>
      </p:sp>
      <p:pic>
        <p:nvPicPr>
          <p:cNvPr id="32" name="그림 3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552" y="2812389"/>
            <a:ext cx="7620000" cy="2171700"/>
          </a:xfrm>
          <a:prstGeom prst="rect">
            <a:avLst/>
          </a:prstGeom>
        </p:spPr>
      </p:pic>
      <p:grpSp>
        <p:nvGrpSpPr>
          <p:cNvPr id="44" name="그룹 43"/>
          <p:cNvGrpSpPr/>
          <p:nvPr/>
        </p:nvGrpSpPr>
        <p:grpSpPr>
          <a:xfrm>
            <a:off x="1115616" y="4653136"/>
            <a:ext cx="7416824" cy="1745606"/>
            <a:chOff x="1115616" y="4653136"/>
            <a:chExt cx="7416824" cy="1745606"/>
          </a:xfrm>
        </p:grpSpPr>
        <p:sp>
          <p:nvSpPr>
            <p:cNvPr id="3" name="직사각형 2"/>
            <p:cNvSpPr/>
            <p:nvPr/>
          </p:nvSpPr>
          <p:spPr>
            <a:xfrm>
              <a:off x="1655428" y="5390630"/>
              <a:ext cx="1512168" cy="1008112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2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배달의민족 한나" pitchFamily="2" charset="-127"/>
                  <a:ea typeface="배달의민족 한나" pitchFamily="2" charset="-127"/>
                </a:rPr>
                <a:t>음향 인식 모델</a:t>
              </a:r>
              <a:endParaRPr lang="ko-KR" alt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배달의민족 한나" pitchFamily="2" charset="-127"/>
                <a:ea typeface="배달의민족 한나" pitchFamily="2" charset="-127"/>
              </a:endParaRPr>
            </a:p>
          </p:txBody>
        </p:sp>
        <p:sp>
          <p:nvSpPr>
            <p:cNvPr id="34" name="직사각형 33"/>
            <p:cNvSpPr/>
            <p:nvPr/>
          </p:nvSpPr>
          <p:spPr>
            <a:xfrm>
              <a:off x="5508104" y="5373216"/>
              <a:ext cx="1512168" cy="1008112"/>
            </a:xfrm>
            <a:prstGeom prst="rect">
              <a:avLst/>
            </a:prstGeom>
            <a:noFill/>
            <a:ln>
              <a:solidFill>
                <a:srgbClr val="385D8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24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배달의민족 한나" pitchFamily="2" charset="-127"/>
                  <a:ea typeface="배달의민족 한나" pitchFamily="2" charset="-127"/>
                </a:rPr>
                <a:t>언어 인식 </a:t>
              </a:r>
              <a:r>
                <a:rPr lang="ko-KR" altLang="en-US" sz="2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배달의민족 한나" pitchFamily="2" charset="-127"/>
                  <a:ea typeface="배달의민족 한나" pitchFamily="2" charset="-127"/>
                </a:rPr>
                <a:t>모델</a:t>
              </a:r>
              <a:endParaRPr lang="ko-KR" alt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배달의민족 한나" pitchFamily="2" charset="-127"/>
                <a:ea typeface="배달의민족 한나" pitchFamily="2" charset="-127"/>
              </a:endParaRPr>
            </a:p>
          </p:txBody>
        </p:sp>
        <p:cxnSp>
          <p:nvCxnSpPr>
            <p:cNvPr id="15" name="직선 연결선 14"/>
            <p:cNvCxnSpPr/>
            <p:nvPr/>
          </p:nvCxnSpPr>
          <p:spPr>
            <a:xfrm flipH="1">
              <a:off x="1115616" y="4653136"/>
              <a:ext cx="2592288" cy="792088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직선 연결선 36"/>
            <p:cNvCxnSpPr/>
            <p:nvPr/>
          </p:nvCxnSpPr>
          <p:spPr>
            <a:xfrm>
              <a:off x="5940152" y="4674597"/>
              <a:ext cx="2592288" cy="565678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5" name="그룹 44"/>
          <p:cNvGrpSpPr/>
          <p:nvPr/>
        </p:nvGrpSpPr>
        <p:grpSpPr>
          <a:xfrm>
            <a:off x="3491880" y="5146894"/>
            <a:ext cx="1080121" cy="1454631"/>
            <a:chOff x="3491880" y="5146894"/>
            <a:chExt cx="1080121" cy="1454631"/>
          </a:xfrm>
        </p:grpSpPr>
        <p:sp>
          <p:nvSpPr>
            <p:cNvPr id="39" name="직사각형 38"/>
            <p:cNvSpPr/>
            <p:nvPr/>
          </p:nvSpPr>
          <p:spPr>
            <a:xfrm>
              <a:off x="3491880" y="5682633"/>
              <a:ext cx="1080120" cy="400110"/>
            </a:xfrm>
            <a:prstGeom prst="rect">
              <a:avLst/>
            </a:prstGeom>
            <a:ln>
              <a:solidFill>
                <a:schemeClr val="tx1"/>
              </a:solidFill>
            </a:ln>
          </p:spPr>
          <p:txBody>
            <a:bodyPr wrap="square">
              <a:spAutoFit/>
            </a:bodyPr>
            <a:lstStyle/>
            <a:p>
              <a:r>
                <a:rPr lang="en-US" altLang="ko-KR" sz="2000" b="1" dirty="0" smtClean="0">
                  <a:solidFill>
                    <a:srgbClr val="393738"/>
                  </a:solidFill>
                  <a:latin typeface="맑은 고딕" panose="020B0503020000020004" pitchFamily="50" charset="-127"/>
                </a:rPr>
                <a:t>HULLO</a:t>
              </a:r>
              <a:endParaRPr lang="en-US" altLang="ko-KR" sz="2000" b="1" dirty="0">
                <a:solidFill>
                  <a:srgbClr val="393738"/>
                </a:solidFill>
                <a:latin typeface="맑은 고딕" panose="020B0503020000020004" pitchFamily="50" charset="-127"/>
              </a:endParaRPr>
            </a:p>
          </p:txBody>
        </p:sp>
        <p:sp>
          <p:nvSpPr>
            <p:cNvPr id="40" name="직사각형 39"/>
            <p:cNvSpPr/>
            <p:nvPr/>
          </p:nvSpPr>
          <p:spPr>
            <a:xfrm>
              <a:off x="3491880" y="5146894"/>
              <a:ext cx="1080120" cy="400110"/>
            </a:xfrm>
            <a:prstGeom prst="rect">
              <a:avLst/>
            </a:prstGeom>
            <a:ln>
              <a:solidFill>
                <a:schemeClr val="tx1"/>
              </a:solidFill>
            </a:ln>
          </p:spPr>
          <p:txBody>
            <a:bodyPr wrap="square">
              <a:spAutoFit/>
            </a:bodyPr>
            <a:lstStyle/>
            <a:p>
              <a:r>
                <a:rPr lang="en-US" altLang="ko-KR" sz="2000" b="1" dirty="0" smtClean="0">
                  <a:solidFill>
                    <a:srgbClr val="393738"/>
                  </a:solidFill>
                  <a:latin typeface="맑은 고딕" panose="020B0503020000020004" pitchFamily="50" charset="-127"/>
                </a:rPr>
                <a:t>HELLO</a:t>
              </a:r>
              <a:endParaRPr lang="en-US" altLang="ko-KR" sz="2000" b="1" dirty="0">
                <a:solidFill>
                  <a:srgbClr val="393738"/>
                </a:solidFill>
                <a:latin typeface="맑은 고딕" panose="020B0503020000020004" pitchFamily="50" charset="-127"/>
              </a:endParaRPr>
            </a:p>
          </p:txBody>
        </p:sp>
        <p:sp>
          <p:nvSpPr>
            <p:cNvPr id="41" name="직사각형 40"/>
            <p:cNvSpPr/>
            <p:nvPr/>
          </p:nvSpPr>
          <p:spPr>
            <a:xfrm>
              <a:off x="3491881" y="6201415"/>
              <a:ext cx="1080120" cy="400110"/>
            </a:xfrm>
            <a:prstGeom prst="rect">
              <a:avLst/>
            </a:prstGeom>
            <a:ln>
              <a:solidFill>
                <a:schemeClr val="tx1"/>
              </a:solidFill>
            </a:ln>
          </p:spPr>
          <p:txBody>
            <a:bodyPr wrap="square">
              <a:spAutoFit/>
            </a:bodyPr>
            <a:lstStyle/>
            <a:p>
              <a:r>
                <a:rPr lang="en-US" altLang="ko-KR" sz="2000" b="1" dirty="0" smtClean="0">
                  <a:solidFill>
                    <a:srgbClr val="393738"/>
                  </a:solidFill>
                  <a:latin typeface="맑은 고딕" panose="020B0503020000020004" pitchFamily="50" charset="-127"/>
                </a:rPr>
                <a:t>AULLO</a:t>
              </a:r>
              <a:endParaRPr lang="en-US" altLang="ko-KR" sz="2000" b="1" dirty="0">
                <a:solidFill>
                  <a:srgbClr val="393738"/>
                </a:solidFill>
                <a:latin typeface="맑은 고딕" panose="020B0503020000020004" pitchFamily="50" charset="-127"/>
              </a:endParaRPr>
            </a:p>
          </p:txBody>
        </p:sp>
      </p:grpSp>
      <p:sp>
        <p:nvSpPr>
          <p:cNvPr id="46" name="오른쪽 화살표 45"/>
          <p:cNvSpPr/>
          <p:nvPr/>
        </p:nvSpPr>
        <p:spPr>
          <a:xfrm>
            <a:off x="4716016" y="5682633"/>
            <a:ext cx="720080" cy="400110"/>
          </a:xfrm>
          <a:prstGeom prst="rightArrow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7" name="직사각형 46"/>
          <p:cNvSpPr/>
          <p:nvPr/>
        </p:nvSpPr>
        <p:spPr>
          <a:xfrm>
            <a:off x="7134321" y="5677217"/>
            <a:ext cx="1025231" cy="400110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r>
              <a:rPr lang="en-US" altLang="ko-KR" sz="2000" b="1" dirty="0" smtClean="0">
                <a:solidFill>
                  <a:srgbClr val="393738"/>
                </a:solidFill>
                <a:latin typeface="맑은 고딕" panose="020B0503020000020004" pitchFamily="50" charset="-127"/>
              </a:rPr>
              <a:t>HELLO</a:t>
            </a:r>
            <a:endParaRPr lang="en-US" altLang="ko-KR" sz="2000" b="1" dirty="0">
              <a:solidFill>
                <a:srgbClr val="393738"/>
              </a:solidFill>
              <a:latin typeface="맑은 고딕" panose="020B0503020000020004" pitchFamily="50" charset="-127"/>
            </a:endParaRPr>
          </a:p>
        </p:txBody>
      </p:sp>
      <p:sp>
        <p:nvSpPr>
          <p:cNvPr id="48" name="TextBox 25"/>
          <p:cNvSpPr txBox="1">
            <a:spLocks noChangeArrowheads="1"/>
          </p:cNvSpPr>
          <p:nvPr/>
        </p:nvSpPr>
        <p:spPr bwMode="auto">
          <a:xfrm>
            <a:off x="755576" y="404664"/>
            <a:ext cx="3168352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42900" indent="-342900"/>
            <a:r>
              <a:rPr lang="ko-KR" altLang="en-US" sz="2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배달의민족 한나" pitchFamily="2" charset="-127"/>
                <a:ea typeface="배달의민족 한나" pitchFamily="2" charset="-127"/>
              </a:rPr>
              <a:t>음성 인식 모델</a:t>
            </a:r>
            <a:endParaRPr lang="en-US" altLang="ko-KR" sz="2800" dirty="0" smtClean="0">
              <a:solidFill>
                <a:srgbClr val="393738"/>
              </a:solidFill>
              <a:latin typeface="배달의민족 한나" pitchFamily="2" charset="-127"/>
              <a:ea typeface="배달의민족 한나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9156538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6" grpId="0" animBg="1"/>
      <p:bldP spid="47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0" name="직사각형 169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3937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배달의민족 한나" pitchFamily="2" charset="-127"/>
              <a:ea typeface="배달의민족 한나" pitchFamily="2" charset="-127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251520" y="260648"/>
            <a:ext cx="309634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600" dirty="0" smtClean="0">
                <a:solidFill>
                  <a:schemeClr val="bg1"/>
                </a:solidFill>
                <a:latin typeface="배달의민족 한나" pitchFamily="2" charset="-127"/>
                <a:ea typeface="배달의민족 한나" pitchFamily="2" charset="-127"/>
              </a:rPr>
              <a:t>INDEX.</a:t>
            </a:r>
            <a:endParaRPr lang="ko-KR" altLang="en-US" sz="3600" dirty="0">
              <a:solidFill>
                <a:schemeClr val="bg1"/>
              </a:solidFill>
              <a:latin typeface="배달의민족 한나" pitchFamily="2" charset="-127"/>
              <a:ea typeface="배달의민족 한나" pitchFamily="2" charset="-127"/>
            </a:endParaRPr>
          </a:p>
        </p:txBody>
      </p:sp>
      <p:grpSp>
        <p:nvGrpSpPr>
          <p:cNvPr id="9" name="그룹 8"/>
          <p:cNvGrpSpPr/>
          <p:nvPr/>
        </p:nvGrpSpPr>
        <p:grpSpPr>
          <a:xfrm>
            <a:off x="363431" y="1060598"/>
            <a:ext cx="3992545" cy="1627624"/>
            <a:chOff x="363431" y="1060598"/>
            <a:chExt cx="3848529" cy="1627624"/>
          </a:xfrm>
        </p:grpSpPr>
        <p:sp>
          <p:nvSpPr>
            <p:cNvPr id="41" name="TextBox 40"/>
            <p:cNvSpPr txBox="1"/>
            <p:nvPr/>
          </p:nvSpPr>
          <p:spPr>
            <a:xfrm>
              <a:off x="363431" y="1487893"/>
              <a:ext cx="3848529" cy="120032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altLang="ko-KR" sz="3600" dirty="0" smtClean="0">
                  <a:solidFill>
                    <a:schemeClr val="bg1"/>
                  </a:solidFill>
                  <a:latin typeface="배달의민족 한나" pitchFamily="2" charset="-127"/>
                  <a:ea typeface="배달의민족 한나" pitchFamily="2" charset="-127"/>
                </a:rPr>
                <a:t>Acoustic Phonetics</a:t>
              </a:r>
            </a:p>
          </p:txBody>
        </p:sp>
        <p:grpSp>
          <p:nvGrpSpPr>
            <p:cNvPr id="8" name="그룹 7"/>
            <p:cNvGrpSpPr/>
            <p:nvPr/>
          </p:nvGrpSpPr>
          <p:grpSpPr>
            <a:xfrm>
              <a:off x="435440" y="1381985"/>
              <a:ext cx="3488488" cy="57670"/>
              <a:chOff x="435440" y="1458505"/>
              <a:chExt cx="1656184" cy="62483"/>
            </a:xfrm>
          </p:grpSpPr>
          <p:cxnSp>
            <p:nvCxnSpPr>
              <p:cNvPr id="198" name="직선 연결선 197"/>
              <p:cNvCxnSpPr/>
              <p:nvPr/>
            </p:nvCxnSpPr>
            <p:spPr>
              <a:xfrm>
                <a:off x="435440" y="1458505"/>
                <a:ext cx="1656184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1" name="직선 연결선 210"/>
              <p:cNvCxnSpPr/>
              <p:nvPr/>
            </p:nvCxnSpPr>
            <p:spPr>
              <a:xfrm>
                <a:off x="435440" y="1520988"/>
                <a:ext cx="1656184" cy="0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17" name="TextBox 216"/>
            <p:cNvSpPr txBox="1"/>
            <p:nvPr/>
          </p:nvSpPr>
          <p:spPr>
            <a:xfrm>
              <a:off x="363432" y="1060598"/>
              <a:ext cx="1152128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altLang="ko-KR" dirty="0" smtClean="0">
                  <a:solidFill>
                    <a:schemeClr val="bg1"/>
                  </a:solidFill>
                  <a:latin typeface="배달의민족 한나" pitchFamily="2" charset="-127"/>
                  <a:ea typeface="배달의민족 한나" pitchFamily="2" charset="-127"/>
                </a:rPr>
                <a:t>1</a:t>
              </a:r>
            </a:p>
          </p:txBody>
        </p:sp>
        <p:grpSp>
          <p:nvGrpSpPr>
            <p:cNvPr id="7" name="그룹 6"/>
            <p:cNvGrpSpPr/>
            <p:nvPr/>
          </p:nvGrpSpPr>
          <p:grpSpPr>
            <a:xfrm>
              <a:off x="435440" y="2176658"/>
              <a:ext cx="3488488" cy="45719"/>
              <a:chOff x="435440" y="2866604"/>
              <a:chExt cx="1656184" cy="46919"/>
            </a:xfrm>
          </p:grpSpPr>
          <p:cxnSp>
            <p:nvCxnSpPr>
              <p:cNvPr id="31" name="직선 연결선 30"/>
              <p:cNvCxnSpPr/>
              <p:nvPr/>
            </p:nvCxnSpPr>
            <p:spPr>
              <a:xfrm>
                <a:off x="435440" y="2866604"/>
                <a:ext cx="1656184" cy="0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직선 연결선 31"/>
              <p:cNvCxnSpPr/>
              <p:nvPr/>
            </p:nvCxnSpPr>
            <p:spPr>
              <a:xfrm>
                <a:off x="435440" y="2913523"/>
                <a:ext cx="1656184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50" name="TextBox 49"/>
          <p:cNvSpPr txBox="1"/>
          <p:nvPr/>
        </p:nvSpPr>
        <p:spPr>
          <a:xfrm>
            <a:off x="4572000" y="1511246"/>
            <a:ext cx="3740517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ko-KR" altLang="en-US" sz="3600" dirty="0" smtClean="0">
                <a:solidFill>
                  <a:schemeClr val="bg1"/>
                </a:solidFill>
                <a:latin typeface="배달의민족 한나" pitchFamily="2" charset="-127"/>
                <a:ea typeface="배달의민족 한나" pitchFamily="2" charset="-127"/>
              </a:rPr>
              <a:t>음성 인식 모델</a:t>
            </a:r>
            <a:endParaRPr lang="en-US" altLang="ko-KR" sz="3600" dirty="0" smtClean="0">
              <a:solidFill>
                <a:schemeClr val="bg1"/>
              </a:solidFill>
              <a:latin typeface="배달의민족 한나" pitchFamily="2" charset="-127"/>
              <a:ea typeface="배달의민족 한나" pitchFamily="2" charset="-127"/>
            </a:endParaRPr>
          </a:p>
        </p:txBody>
      </p:sp>
      <p:grpSp>
        <p:nvGrpSpPr>
          <p:cNvPr id="51" name="그룹 50"/>
          <p:cNvGrpSpPr/>
          <p:nvPr/>
        </p:nvGrpSpPr>
        <p:grpSpPr>
          <a:xfrm>
            <a:off x="4644009" y="1353150"/>
            <a:ext cx="3488488" cy="57670"/>
            <a:chOff x="435440" y="1458505"/>
            <a:chExt cx="1656184" cy="62483"/>
          </a:xfrm>
        </p:grpSpPr>
        <p:cxnSp>
          <p:nvCxnSpPr>
            <p:cNvPr id="56" name="직선 연결선 55"/>
            <p:cNvCxnSpPr/>
            <p:nvPr/>
          </p:nvCxnSpPr>
          <p:spPr>
            <a:xfrm>
              <a:off x="435440" y="1458505"/>
              <a:ext cx="1656184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직선 연결선 56"/>
            <p:cNvCxnSpPr/>
            <p:nvPr/>
          </p:nvCxnSpPr>
          <p:spPr>
            <a:xfrm>
              <a:off x="435440" y="1520988"/>
              <a:ext cx="1656184" cy="0"/>
            </a:xfrm>
            <a:prstGeom prst="line">
              <a:avLst/>
            </a:prstGeom>
            <a:ln w="381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2" name="TextBox 51"/>
          <p:cNvSpPr txBox="1"/>
          <p:nvPr/>
        </p:nvSpPr>
        <p:spPr>
          <a:xfrm>
            <a:off x="4572001" y="1031763"/>
            <a:ext cx="1152128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altLang="ko-KR" dirty="0">
                <a:solidFill>
                  <a:schemeClr val="bg1"/>
                </a:solidFill>
                <a:latin typeface="배달의민족 한나" pitchFamily="2" charset="-127"/>
                <a:ea typeface="배달의민족 한나" pitchFamily="2" charset="-127"/>
              </a:rPr>
              <a:t>2</a:t>
            </a:r>
            <a:endParaRPr lang="en-US" altLang="ko-KR" dirty="0" smtClean="0">
              <a:solidFill>
                <a:schemeClr val="bg1"/>
              </a:solidFill>
              <a:latin typeface="배달의민족 한나" pitchFamily="2" charset="-127"/>
              <a:ea typeface="배달의민족 한나" pitchFamily="2" charset="-127"/>
            </a:endParaRPr>
          </a:p>
        </p:txBody>
      </p:sp>
      <p:grpSp>
        <p:nvGrpSpPr>
          <p:cNvPr id="53" name="그룹 52"/>
          <p:cNvGrpSpPr/>
          <p:nvPr/>
        </p:nvGrpSpPr>
        <p:grpSpPr>
          <a:xfrm>
            <a:off x="4644009" y="2200011"/>
            <a:ext cx="3488488" cy="45719"/>
            <a:chOff x="435440" y="2866604"/>
            <a:chExt cx="1656184" cy="46919"/>
          </a:xfrm>
        </p:grpSpPr>
        <p:cxnSp>
          <p:nvCxnSpPr>
            <p:cNvPr id="54" name="직선 연결선 53"/>
            <p:cNvCxnSpPr/>
            <p:nvPr/>
          </p:nvCxnSpPr>
          <p:spPr>
            <a:xfrm>
              <a:off x="435440" y="2866604"/>
              <a:ext cx="1656184" cy="0"/>
            </a:xfrm>
            <a:prstGeom prst="line">
              <a:avLst/>
            </a:prstGeom>
            <a:ln w="381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직선 연결선 54"/>
            <p:cNvCxnSpPr/>
            <p:nvPr/>
          </p:nvCxnSpPr>
          <p:spPr>
            <a:xfrm>
              <a:off x="435440" y="2913523"/>
              <a:ext cx="1656184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9" name="TextBox 58"/>
          <p:cNvSpPr txBox="1"/>
          <p:nvPr/>
        </p:nvSpPr>
        <p:spPr>
          <a:xfrm>
            <a:off x="363431" y="2245730"/>
            <a:ext cx="3740517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ko-KR" altLang="en-US" sz="2400" dirty="0" smtClean="0">
                <a:solidFill>
                  <a:schemeClr val="bg1"/>
                </a:solidFill>
                <a:latin typeface="배달의민족 한나" pitchFamily="2" charset="-127"/>
                <a:ea typeface="배달의민족 한나" pitchFamily="2" charset="-127"/>
              </a:rPr>
              <a:t>용어 정의</a:t>
            </a:r>
            <a:endParaRPr lang="en-US" altLang="ko-KR" sz="2400" dirty="0" smtClean="0">
              <a:solidFill>
                <a:schemeClr val="bg1"/>
              </a:solidFill>
              <a:latin typeface="배달의민족 한나" pitchFamily="2" charset="-127"/>
              <a:ea typeface="배달의민족 한나" pitchFamily="2" charset="-127"/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369364" y="2660781"/>
            <a:ext cx="3740517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ko-KR" altLang="en-US" sz="2400" dirty="0">
                <a:solidFill>
                  <a:schemeClr val="bg1"/>
                </a:solidFill>
                <a:latin typeface="배달의민족 한나" pitchFamily="2" charset="-127"/>
                <a:ea typeface="배달의민족 한나" pitchFamily="2" charset="-127"/>
              </a:rPr>
              <a:t>음성학의 종류</a:t>
            </a:r>
            <a:endParaRPr lang="en-US" altLang="ko-KR" sz="2400" dirty="0">
              <a:solidFill>
                <a:schemeClr val="bg1"/>
              </a:solidFill>
              <a:latin typeface="배달의민족 한나" pitchFamily="2" charset="-127"/>
              <a:ea typeface="배달의민족 한나" pitchFamily="2" charset="-127"/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363430" y="3129699"/>
            <a:ext cx="3740517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ko-KR" sz="2400" dirty="0">
                <a:solidFill>
                  <a:schemeClr val="bg1"/>
                </a:solidFill>
                <a:latin typeface="배달의민족 한나" pitchFamily="2" charset="-127"/>
                <a:ea typeface="배달의민족 한나" pitchFamily="2" charset="-127"/>
              </a:rPr>
              <a:t>Acoustic Phonetics</a:t>
            </a:r>
            <a:endParaRPr lang="en-US" altLang="ko-KR" sz="2400" dirty="0">
              <a:solidFill>
                <a:schemeClr val="bg1"/>
              </a:solidFill>
              <a:latin typeface="배달의민족 한나" pitchFamily="2" charset="-127"/>
              <a:ea typeface="배달의민족 한나" pitchFamily="2" charset="-127"/>
            </a:endParaRPr>
          </a:p>
        </p:txBody>
      </p:sp>
      <p:sp>
        <p:nvSpPr>
          <p:cNvPr id="67" name="TextBox 66"/>
          <p:cNvSpPr txBox="1"/>
          <p:nvPr/>
        </p:nvSpPr>
        <p:spPr>
          <a:xfrm>
            <a:off x="4644009" y="2291449"/>
            <a:ext cx="3740517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ko-KR" altLang="en-US" sz="2400" dirty="0">
                <a:solidFill>
                  <a:schemeClr val="bg1"/>
                </a:solidFill>
                <a:latin typeface="배달의민족 한나" pitchFamily="2" charset="-127"/>
                <a:ea typeface="배달의민족 한나" pitchFamily="2" charset="-127"/>
              </a:rPr>
              <a:t>음성인식의 기본 모델</a:t>
            </a:r>
            <a:endParaRPr lang="en-US" altLang="ko-KR" sz="2400" dirty="0">
              <a:solidFill>
                <a:schemeClr val="bg1"/>
              </a:solidFill>
              <a:latin typeface="배달의민족 한나" pitchFamily="2" charset="-127"/>
              <a:ea typeface="배달의민족 한나" pitchFamily="2" charset="-127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4644009" y="2656153"/>
            <a:ext cx="3740517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ko-KR" altLang="en-US" sz="2400" dirty="0" smtClean="0">
                <a:solidFill>
                  <a:schemeClr val="bg1"/>
                </a:solidFill>
                <a:latin typeface="배달의민족 한나" pitchFamily="2" charset="-127"/>
                <a:ea typeface="배달의민족 한나" pitchFamily="2" charset="-127"/>
              </a:rPr>
              <a:t>음향 인식 모델</a:t>
            </a:r>
            <a:endParaRPr lang="en-US" altLang="ko-KR" sz="2400" dirty="0">
              <a:solidFill>
                <a:schemeClr val="bg1"/>
              </a:solidFill>
              <a:latin typeface="배달의민족 한나" pitchFamily="2" charset="-127"/>
              <a:ea typeface="배달의민족 한나" pitchFamily="2" charset="-127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4644009" y="3075686"/>
            <a:ext cx="3740517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ko-KR" altLang="en-US" sz="2400" dirty="0" smtClean="0">
                <a:solidFill>
                  <a:schemeClr val="bg1"/>
                </a:solidFill>
                <a:latin typeface="배달의민족 한나" pitchFamily="2" charset="-127"/>
                <a:ea typeface="배달의민족 한나" pitchFamily="2" charset="-127"/>
              </a:rPr>
              <a:t>언어 인식 모델</a:t>
            </a:r>
            <a:endParaRPr lang="en-US" altLang="ko-KR" sz="2400" dirty="0">
              <a:solidFill>
                <a:schemeClr val="bg1"/>
              </a:solidFill>
              <a:latin typeface="배달의민족 한나" pitchFamily="2" charset="-127"/>
              <a:ea typeface="배달의민족 한나" pitchFamily="2" charset="-127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4644009" y="3482522"/>
            <a:ext cx="3740517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ko-KR" altLang="en-US" sz="2400" dirty="0" smtClean="0">
                <a:solidFill>
                  <a:schemeClr val="bg1"/>
                </a:solidFill>
                <a:latin typeface="배달의민족 한나" pitchFamily="2" charset="-127"/>
                <a:ea typeface="배달의민족 한나" pitchFamily="2" charset="-127"/>
              </a:rPr>
              <a:t>음성 인식 모델</a:t>
            </a:r>
            <a:endParaRPr lang="en-US" altLang="ko-KR" sz="2400" dirty="0">
              <a:solidFill>
                <a:schemeClr val="bg1"/>
              </a:solidFill>
              <a:latin typeface="배달의민족 한나" pitchFamily="2" charset="-127"/>
              <a:ea typeface="배달의민족 한나" pitchFamily="2" charset="-127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직사각형 19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3937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rgbClr val="383637"/>
              </a:solidFill>
              <a:latin typeface="배달의민족 한나" pitchFamily="2" charset="-127"/>
              <a:ea typeface="배달의민족 한나" pitchFamily="2" charset="-127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059832" y="2600561"/>
            <a:ext cx="3096344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4400" dirty="0" smtClean="0">
                <a:solidFill>
                  <a:schemeClr val="bg1"/>
                </a:solidFill>
                <a:latin typeface="배달의민족 한나" pitchFamily="2" charset="-127"/>
                <a:ea typeface="배달의민족 한나" pitchFamily="2" charset="-127"/>
              </a:rPr>
              <a:t>감사합니다</a:t>
            </a:r>
            <a:r>
              <a:rPr lang="en-US" altLang="ko-KR" sz="4400" dirty="0" smtClean="0">
                <a:solidFill>
                  <a:schemeClr val="bg1"/>
                </a:solidFill>
                <a:latin typeface="배달의민족 한나" pitchFamily="2" charset="-127"/>
                <a:ea typeface="배달의민족 한나" pitchFamily="2" charset="-127"/>
              </a:rPr>
              <a:t>.</a:t>
            </a:r>
          </a:p>
          <a:p>
            <a:pPr algn="ctr"/>
            <a:r>
              <a:rPr lang="en-US" altLang="ko-KR" sz="4400" dirty="0" smtClean="0">
                <a:solidFill>
                  <a:schemeClr val="bg1"/>
                </a:solidFill>
                <a:latin typeface="배달의민족 한나" pitchFamily="2" charset="-127"/>
                <a:ea typeface="배달의민족 한나" pitchFamily="2" charset="-127"/>
              </a:rPr>
              <a:t>Q&amp;A</a:t>
            </a:r>
            <a:endParaRPr lang="ko-KR" altLang="en-US" sz="4400" dirty="0">
              <a:solidFill>
                <a:schemeClr val="bg1"/>
              </a:solidFill>
              <a:latin typeface="배달의민족 한나" pitchFamily="2" charset="-127"/>
              <a:ea typeface="배달의민족 한나" pitchFamily="2" charset="-127"/>
            </a:endParaRPr>
          </a:p>
        </p:txBody>
      </p:sp>
      <p:grpSp>
        <p:nvGrpSpPr>
          <p:cNvPr id="5" name="그룹 81"/>
          <p:cNvGrpSpPr/>
          <p:nvPr/>
        </p:nvGrpSpPr>
        <p:grpSpPr>
          <a:xfrm>
            <a:off x="179512" y="188640"/>
            <a:ext cx="8856984" cy="72008"/>
            <a:chOff x="179512" y="188640"/>
            <a:chExt cx="8856984" cy="72008"/>
          </a:xfrm>
        </p:grpSpPr>
        <p:cxnSp>
          <p:nvCxnSpPr>
            <p:cNvPr id="74" name="직선 연결선 73"/>
            <p:cNvCxnSpPr/>
            <p:nvPr/>
          </p:nvCxnSpPr>
          <p:spPr>
            <a:xfrm>
              <a:off x="179512" y="188640"/>
              <a:ext cx="8856984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직선 연결선 77"/>
            <p:cNvCxnSpPr/>
            <p:nvPr/>
          </p:nvCxnSpPr>
          <p:spPr>
            <a:xfrm>
              <a:off x="179512" y="260648"/>
              <a:ext cx="8856984" cy="0"/>
            </a:xfrm>
            <a:prstGeom prst="line">
              <a:avLst/>
            </a:prstGeom>
            <a:ln w="381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" name="그룹 80"/>
          <p:cNvGrpSpPr/>
          <p:nvPr/>
        </p:nvGrpSpPr>
        <p:grpSpPr>
          <a:xfrm>
            <a:off x="179512" y="6597352"/>
            <a:ext cx="8856984" cy="72008"/>
            <a:chOff x="179512" y="6597352"/>
            <a:chExt cx="8856984" cy="72008"/>
          </a:xfrm>
        </p:grpSpPr>
        <p:cxnSp>
          <p:nvCxnSpPr>
            <p:cNvPr id="79" name="직선 연결선 78"/>
            <p:cNvCxnSpPr/>
            <p:nvPr/>
          </p:nvCxnSpPr>
          <p:spPr>
            <a:xfrm>
              <a:off x="179512" y="6669360"/>
              <a:ext cx="8856984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직선 연결선 79"/>
            <p:cNvCxnSpPr/>
            <p:nvPr/>
          </p:nvCxnSpPr>
          <p:spPr>
            <a:xfrm>
              <a:off x="179512" y="6597352"/>
              <a:ext cx="8856984" cy="0"/>
            </a:xfrm>
            <a:prstGeom prst="line">
              <a:avLst/>
            </a:prstGeom>
            <a:ln w="381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9373655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직선 연결선 3"/>
          <p:cNvCxnSpPr/>
          <p:nvPr/>
        </p:nvCxnSpPr>
        <p:spPr>
          <a:xfrm>
            <a:off x="179512" y="236354"/>
            <a:ext cx="446400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/>
          <p:cNvSpPr txBox="1">
            <a:spLocks noChangeArrowheads="1"/>
          </p:cNvSpPr>
          <p:nvPr/>
        </p:nvSpPr>
        <p:spPr bwMode="auto">
          <a:xfrm>
            <a:off x="35496" y="182250"/>
            <a:ext cx="2736304" cy="144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42900" indent="-342900"/>
            <a:r>
              <a:rPr lang="en-US" altLang="ko-KR" sz="8800" dirty="0" smtClean="0">
                <a:solidFill>
                  <a:srgbClr val="393738"/>
                </a:solidFill>
                <a:latin typeface="나눔고딕 ExtraBold" pitchFamily="50" charset="-127"/>
                <a:ea typeface="나눔고딕 ExtraBold" pitchFamily="50" charset="-127"/>
              </a:rPr>
              <a:t>1</a:t>
            </a:r>
          </a:p>
        </p:txBody>
      </p:sp>
      <p:cxnSp>
        <p:nvCxnSpPr>
          <p:cNvPr id="6" name="직선 연결선 5"/>
          <p:cNvCxnSpPr/>
          <p:nvPr/>
        </p:nvCxnSpPr>
        <p:spPr>
          <a:xfrm>
            <a:off x="179512" y="1556792"/>
            <a:ext cx="446400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25"/>
          <p:cNvSpPr txBox="1">
            <a:spLocks noChangeArrowheads="1"/>
          </p:cNvSpPr>
          <p:nvPr/>
        </p:nvSpPr>
        <p:spPr bwMode="auto">
          <a:xfrm>
            <a:off x="179512" y="1685074"/>
            <a:ext cx="165618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42900" indent="-342900" algn="ctr"/>
            <a:r>
              <a:rPr lang="en-US" altLang="ko-KR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□ </a:t>
            </a:r>
            <a:r>
              <a:rPr lang="ko-KR" alt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배달의민족 한나" pitchFamily="2" charset="-127"/>
                <a:ea typeface="배달의민족 한나" pitchFamily="2" charset="-127"/>
              </a:rPr>
              <a:t>용어 정의</a:t>
            </a:r>
            <a:r>
              <a:rPr lang="en-US" altLang="ko-KR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배달의민족 한나" pitchFamily="2" charset="-127"/>
                <a:ea typeface="배달의민족 한나" pitchFamily="2" charset="-127"/>
              </a:rPr>
              <a:t> </a:t>
            </a:r>
            <a:endParaRPr lang="ko-KR" altLang="en-US" sz="2400" dirty="0" smtClean="0">
              <a:solidFill>
                <a:schemeClr val="tx1">
                  <a:lumMod val="75000"/>
                  <a:lumOff val="25000"/>
                </a:schemeClr>
              </a:solidFill>
              <a:latin typeface="배달의민족 한나" pitchFamily="2" charset="-127"/>
              <a:ea typeface="배달의민족 한나" pitchFamily="2" charset="-127"/>
            </a:endParaRPr>
          </a:p>
        </p:txBody>
      </p:sp>
      <p:sp>
        <p:nvSpPr>
          <p:cNvPr id="21" name="TextBox 25"/>
          <p:cNvSpPr txBox="1">
            <a:spLocks noChangeArrowheads="1"/>
          </p:cNvSpPr>
          <p:nvPr/>
        </p:nvSpPr>
        <p:spPr bwMode="auto">
          <a:xfrm>
            <a:off x="827584" y="908720"/>
            <a:ext cx="4176464" cy="3103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t">
            <a:spAutoFit/>
          </a:bodyPr>
          <a:lstStyle/>
          <a:p>
            <a:pPr marL="342900" indent="-342900">
              <a:lnSpc>
                <a:spcPts val="1700"/>
              </a:lnSpc>
            </a:pPr>
            <a:r>
              <a:rPr lang="en-US" altLang="ko-KR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바른고딕" pitchFamily="50" charset="-127"/>
                <a:ea typeface="나눔바른고딕" pitchFamily="50" charset="-127"/>
              </a:rPr>
              <a:t>Overview</a:t>
            </a:r>
            <a:endParaRPr lang="en-US" altLang="ko-KR" sz="1400" dirty="0">
              <a:solidFill>
                <a:schemeClr val="tx1">
                  <a:lumMod val="65000"/>
                  <a:lumOff val="35000"/>
                </a:schemeClr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17" name="Rectangle 3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95536" y="2238148"/>
            <a:ext cx="8352928" cy="41143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72000" tIns="0" rIns="0" bIns="0"/>
          <a:lstStyle/>
          <a:p>
            <a:pPr marL="85725">
              <a:lnSpc>
                <a:spcPct val="150000"/>
              </a:lnSpc>
              <a:spcAft>
                <a:spcPct val="20000"/>
              </a:spcAft>
              <a:defRPr/>
            </a:pPr>
            <a:endParaRPr kumimoji="0" lang="en-US" altLang="ko-KR" sz="1600" b="1" kern="0" dirty="0">
              <a:ln>
                <a:solidFill>
                  <a:srgbClr val="383637"/>
                </a:solidFill>
              </a:ln>
              <a:latin typeface="+mn-ea"/>
              <a:ea typeface="+mn-ea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431292" y="2305616"/>
            <a:ext cx="8281416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000" b="1" dirty="0" smtClean="0">
                <a:solidFill>
                  <a:srgbClr val="393738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○ P</a:t>
            </a:r>
            <a:r>
              <a:rPr lang="en-US" altLang="ko-KR" sz="2000" b="1" dirty="0" smtClean="0">
                <a:solidFill>
                  <a:srgbClr val="393738"/>
                </a:solidFill>
                <a:latin typeface="맑은 고딕" panose="020B0503020000020004" pitchFamily="50" charset="-127"/>
              </a:rPr>
              <a:t>honetics(</a:t>
            </a:r>
            <a:r>
              <a:rPr lang="ko-KR" altLang="en-US" sz="2000" b="1" dirty="0" smtClean="0">
                <a:solidFill>
                  <a:srgbClr val="393738"/>
                </a:solidFill>
                <a:latin typeface="맑은 고딕" panose="020B0503020000020004" pitchFamily="50" charset="-127"/>
              </a:rPr>
              <a:t>음성학</a:t>
            </a:r>
            <a:r>
              <a:rPr lang="en-US" altLang="ko-KR" sz="2000" b="1" dirty="0" smtClean="0">
                <a:solidFill>
                  <a:srgbClr val="393738"/>
                </a:solidFill>
                <a:latin typeface="맑은 고딕" panose="020B0503020000020004" pitchFamily="50" charset="-127"/>
              </a:rPr>
              <a:t>)</a:t>
            </a:r>
            <a:endParaRPr lang="en-US" altLang="ko-KR" sz="2000" b="1" dirty="0" smtClean="0">
              <a:solidFill>
                <a:srgbClr val="393738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endParaRPr lang="en-US" altLang="ko-KR" sz="800" b="1" dirty="0" smtClean="0">
              <a:solidFill>
                <a:srgbClr val="393738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r>
              <a:rPr lang="en-US" altLang="ko-KR" sz="1600" dirty="0" smtClean="0">
                <a:solidFill>
                  <a:srgbClr val="393738"/>
                </a:solidFill>
              </a:rPr>
              <a:t> - </a:t>
            </a:r>
            <a:r>
              <a:rPr lang="ko-KR" altLang="en-US" sz="1600" dirty="0" smtClean="0">
                <a:solidFill>
                  <a:srgbClr val="393738"/>
                </a:solidFill>
              </a:rPr>
              <a:t>음</a:t>
            </a:r>
            <a:r>
              <a:rPr lang="en-US" altLang="ko-KR" sz="1600" dirty="0" smtClean="0">
                <a:solidFill>
                  <a:srgbClr val="393738"/>
                </a:solidFill>
              </a:rPr>
              <a:t>(</a:t>
            </a:r>
            <a:r>
              <a:rPr lang="ko-KR" altLang="en-US" sz="1600" dirty="0" smtClean="0">
                <a:solidFill>
                  <a:srgbClr val="393738"/>
                </a:solidFill>
              </a:rPr>
              <a:t>音</a:t>
            </a:r>
            <a:r>
              <a:rPr lang="en-US" altLang="ko-KR" sz="1600" dirty="0" smtClean="0">
                <a:solidFill>
                  <a:srgbClr val="393738"/>
                </a:solidFill>
              </a:rPr>
              <a:t>): </a:t>
            </a:r>
            <a:r>
              <a:rPr lang="ko-KR" altLang="en-US" sz="1600" dirty="0">
                <a:solidFill>
                  <a:srgbClr val="393738"/>
                </a:solidFill>
              </a:rPr>
              <a:t>사람의 목소리를 포함한 이 세상의 모든 소리를 가리켜 </a:t>
            </a:r>
            <a:r>
              <a:rPr lang="en-US" altLang="ko-KR" sz="1600" dirty="0">
                <a:solidFill>
                  <a:srgbClr val="393738"/>
                </a:solidFill>
              </a:rPr>
              <a:t>'</a:t>
            </a:r>
            <a:r>
              <a:rPr lang="ko-KR" altLang="en-US" sz="1600" dirty="0">
                <a:solidFill>
                  <a:srgbClr val="393738"/>
                </a:solidFill>
              </a:rPr>
              <a:t>음</a:t>
            </a:r>
            <a:r>
              <a:rPr lang="en-US" altLang="ko-KR" sz="1600" dirty="0">
                <a:solidFill>
                  <a:srgbClr val="393738"/>
                </a:solidFill>
              </a:rPr>
              <a:t>(</a:t>
            </a:r>
            <a:r>
              <a:rPr lang="ko-KR" altLang="en-US" sz="1600" dirty="0">
                <a:solidFill>
                  <a:srgbClr val="393738"/>
                </a:solidFill>
              </a:rPr>
              <a:t>音</a:t>
            </a:r>
            <a:r>
              <a:rPr lang="en-US" altLang="ko-KR" sz="1600" dirty="0">
                <a:solidFill>
                  <a:srgbClr val="393738"/>
                </a:solidFill>
              </a:rPr>
              <a:t>)</a:t>
            </a:r>
            <a:endParaRPr lang="ko-KR" altLang="en-US" sz="1600" dirty="0">
              <a:solidFill>
                <a:srgbClr val="393738"/>
              </a:solidFill>
            </a:endParaRPr>
          </a:p>
          <a:p>
            <a:r>
              <a:rPr lang="en-US" altLang="ko-KR" sz="1600" dirty="0" smtClean="0">
                <a:solidFill>
                  <a:srgbClr val="393738"/>
                </a:solidFill>
              </a:rPr>
              <a:t> </a:t>
            </a:r>
          </a:p>
          <a:p>
            <a:r>
              <a:rPr lang="en-US" altLang="ko-KR" sz="1600" dirty="0" smtClean="0">
                <a:solidFill>
                  <a:srgbClr val="393738"/>
                </a:solidFill>
              </a:rPr>
              <a:t> - </a:t>
            </a:r>
            <a:r>
              <a:rPr lang="ko-KR" altLang="en-US" sz="1600" dirty="0" smtClean="0">
                <a:solidFill>
                  <a:srgbClr val="393738"/>
                </a:solidFill>
              </a:rPr>
              <a:t>성</a:t>
            </a:r>
            <a:r>
              <a:rPr lang="en-US" altLang="ko-KR" sz="1600" dirty="0" smtClean="0">
                <a:solidFill>
                  <a:srgbClr val="393738"/>
                </a:solidFill>
              </a:rPr>
              <a:t>(</a:t>
            </a:r>
            <a:r>
              <a:rPr lang="ko-KR" altLang="en-US" sz="1600" dirty="0" smtClean="0">
                <a:solidFill>
                  <a:srgbClr val="393738"/>
                </a:solidFill>
              </a:rPr>
              <a:t>聲</a:t>
            </a:r>
            <a:r>
              <a:rPr lang="en-US" altLang="ko-KR" sz="1600" dirty="0" smtClean="0">
                <a:solidFill>
                  <a:srgbClr val="393738"/>
                </a:solidFill>
              </a:rPr>
              <a:t>): </a:t>
            </a:r>
            <a:r>
              <a:rPr lang="ko-KR" altLang="en-US" sz="1600" dirty="0">
                <a:solidFill>
                  <a:srgbClr val="393738"/>
                </a:solidFill>
              </a:rPr>
              <a:t>사람의 목구멍</a:t>
            </a:r>
            <a:r>
              <a:rPr lang="en-US" altLang="ko-KR" sz="1600" dirty="0">
                <a:solidFill>
                  <a:srgbClr val="393738"/>
                </a:solidFill>
              </a:rPr>
              <a:t>, </a:t>
            </a:r>
            <a:r>
              <a:rPr lang="ko-KR" altLang="en-US" sz="1600" dirty="0">
                <a:solidFill>
                  <a:srgbClr val="393738"/>
                </a:solidFill>
              </a:rPr>
              <a:t>즉 후두를 통과해서</a:t>
            </a:r>
            <a:r>
              <a:rPr lang="en-US" altLang="ko-KR" sz="1600" dirty="0">
                <a:solidFill>
                  <a:srgbClr val="393738"/>
                </a:solidFill>
              </a:rPr>
              <a:t>, </a:t>
            </a:r>
            <a:r>
              <a:rPr lang="ko-KR" altLang="en-US" sz="1600" dirty="0">
                <a:solidFill>
                  <a:srgbClr val="393738"/>
                </a:solidFill>
              </a:rPr>
              <a:t>후두를 울려서 내는 소리</a:t>
            </a:r>
            <a:r>
              <a:rPr lang="en-US" altLang="ko-KR" sz="1600" dirty="0">
                <a:solidFill>
                  <a:srgbClr val="393738"/>
                </a:solidFill>
              </a:rPr>
              <a:t>, </a:t>
            </a:r>
            <a:r>
              <a:rPr lang="ko-KR" altLang="en-US" sz="1600" dirty="0">
                <a:solidFill>
                  <a:srgbClr val="393738"/>
                </a:solidFill>
              </a:rPr>
              <a:t>즉 사람의 목소리</a:t>
            </a:r>
          </a:p>
          <a:p>
            <a:endParaRPr lang="en-US" altLang="ko-KR" sz="1600" dirty="0" smtClean="0">
              <a:solidFill>
                <a:srgbClr val="393738"/>
              </a:solidFill>
            </a:endParaRPr>
          </a:p>
          <a:p>
            <a:r>
              <a:rPr lang="en-US" altLang="ko-KR" sz="1600" dirty="0">
                <a:solidFill>
                  <a:srgbClr val="393738"/>
                </a:solidFill>
              </a:rPr>
              <a:t> </a:t>
            </a:r>
            <a:r>
              <a:rPr lang="en-US" altLang="ko-KR" sz="1600" dirty="0" smtClean="0">
                <a:solidFill>
                  <a:srgbClr val="393738"/>
                </a:solidFill>
              </a:rPr>
              <a:t>- </a:t>
            </a:r>
            <a:r>
              <a:rPr lang="ko-KR" altLang="en-US" sz="1600" dirty="0" smtClean="0">
                <a:solidFill>
                  <a:srgbClr val="393738"/>
                </a:solidFill>
              </a:rPr>
              <a:t>음성학</a:t>
            </a:r>
            <a:r>
              <a:rPr lang="en-US" altLang="ko-KR" sz="1600" dirty="0" smtClean="0">
                <a:solidFill>
                  <a:srgbClr val="393738"/>
                </a:solidFill>
              </a:rPr>
              <a:t>: </a:t>
            </a:r>
            <a:r>
              <a:rPr lang="ko-KR" altLang="en-US" sz="1600" dirty="0" smtClean="0">
                <a:solidFill>
                  <a:srgbClr val="393738"/>
                </a:solidFill>
              </a:rPr>
              <a:t>사람의 입과 코를 통해서 나오는 소리</a:t>
            </a:r>
            <a:endParaRPr lang="en-US" altLang="ko-KR" sz="1600" dirty="0" smtClean="0">
              <a:solidFill>
                <a:srgbClr val="393738"/>
              </a:solidFill>
            </a:endParaRPr>
          </a:p>
          <a:p>
            <a:endParaRPr lang="en-US" altLang="ko-KR" sz="1600" dirty="0">
              <a:solidFill>
                <a:srgbClr val="393738"/>
              </a:solidFill>
            </a:endParaRPr>
          </a:p>
          <a:p>
            <a:r>
              <a:rPr lang="en-US" altLang="ko-KR" sz="1600" dirty="0">
                <a:solidFill>
                  <a:srgbClr val="393738"/>
                </a:solidFill>
              </a:rPr>
              <a:t> </a:t>
            </a:r>
            <a:r>
              <a:rPr lang="en-US" altLang="ko-KR" sz="1600" dirty="0" smtClean="0">
                <a:solidFill>
                  <a:srgbClr val="393738"/>
                </a:solidFill>
              </a:rPr>
              <a:t>- </a:t>
            </a:r>
            <a:r>
              <a:rPr lang="ko-KR" altLang="en-US" sz="1600" dirty="0" smtClean="0">
                <a:solidFill>
                  <a:srgbClr val="393738"/>
                </a:solidFill>
              </a:rPr>
              <a:t>대 상</a:t>
            </a:r>
            <a:r>
              <a:rPr lang="en-US" altLang="ko-KR" sz="1600" dirty="0" smtClean="0">
                <a:solidFill>
                  <a:srgbClr val="393738"/>
                </a:solidFill>
              </a:rPr>
              <a:t>: </a:t>
            </a:r>
            <a:r>
              <a:rPr lang="ko-KR" altLang="en-US" sz="1600" dirty="0" smtClean="0">
                <a:solidFill>
                  <a:srgbClr val="393738"/>
                </a:solidFill>
              </a:rPr>
              <a:t>사람의 의사소통을 위해 내는 말소리</a:t>
            </a:r>
            <a:r>
              <a:rPr lang="en-US" altLang="ko-KR" sz="1600" dirty="0" smtClean="0">
                <a:solidFill>
                  <a:srgbClr val="393738"/>
                </a:solidFill>
              </a:rPr>
              <a:t>(</a:t>
            </a:r>
            <a:r>
              <a:rPr lang="ko-KR" altLang="en-US" sz="1600" dirty="0" smtClean="0">
                <a:solidFill>
                  <a:srgbClr val="393738"/>
                </a:solidFill>
              </a:rPr>
              <a:t>기침</a:t>
            </a:r>
            <a:r>
              <a:rPr lang="en-US" altLang="ko-KR" sz="1600" dirty="0" smtClean="0">
                <a:solidFill>
                  <a:srgbClr val="393738"/>
                </a:solidFill>
              </a:rPr>
              <a:t>, </a:t>
            </a:r>
            <a:r>
              <a:rPr lang="ko-KR" altLang="en-US" sz="1600" dirty="0" smtClean="0">
                <a:solidFill>
                  <a:srgbClr val="393738"/>
                </a:solidFill>
              </a:rPr>
              <a:t>하품</a:t>
            </a:r>
            <a:r>
              <a:rPr lang="en-US" altLang="ko-KR" sz="1600" dirty="0" smtClean="0">
                <a:solidFill>
                  <a:srgbClr val="393738"/>
                </a:solidFill>
              </a:rPr>
              <a:t>, </a:t>
            </a:r>
            <a:r>
              <a:rPr lang="ko-KR" altLang="en-US" sz="1600" dirty="0" smtClean="0">
                <a:solidFill>
                  <a:srgbClr val="393738"/>
                </a:solidFill>
              </a:rPr>
              <a:t>숨소리</a:t>
            </a:r>
            <a:r>
              <a:rPr lang="en-US" altLang="ko-KR" sz="1600" dirty="0" smtClean="0">
                <a:solidFill>
                  <a:srgbClr val="393738"/>
                </a:solidFill>
              </a:rPr>
              <a:t>, </a:t>
            </a:r>
            <a:r>
              <a:rPr lang="ko-KR" altLang="en-US" sz="1600" dirty="0" err="1" smtClean="0">
                <a:solidFill>
                  <a:srgbClr val="393738"/>
                </a:solidFill>
              </a:rPr>
              <a:t>트름</a:t>
            </a:r>
            <a:r>
              <a:rPr lang="ko-KR" altLang="en-US" sz="1600" dirty="0" smtClean="0">
                <a:solidFill>
                  <a:srgbClr val="393738"/>
                </a:solidFill>
              </a:rPr>
              <a:t> 등은 해당</a:t>
            </a:r>
            <a:r>
              <a:rPr lang="en-US" altLang="ko-KR" sz="1600" dirty="0" smtClean="0">
                <a:solidFill>
                  <a:srgbClr val="393738"/>
                </a:solidFill>
              </a:rPr>
              <a:t>x)</a:t>
            </a:r>
            <a:endParaRPr lang="en-US" altLang="ko-KR" sz="1600" dirty="0">
              <a:solidFill>
                <a:srgbClr val="393738"/>
              </a:solidFill>
            </a:endParaRPr>
          </a:p>
        </p:txBody>
      </p:sp>
      <p:pic>
        <p:nvPicPr>
          <p:cNvPr id="11" name="Picture 61" descr="PE01684_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16468" y="4941168"/>
            <a:ext cx="1031875" cy="1335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사각형 설명선 2"/>
          <p:cNvSpPr/>
          <p:nvPr/>
        </p:nvSpPr>
        <p:spPr>
          <a:xfrm>
            <a:off x="4612212" y="4869160"/>
            <a:ext cx="1872208" cy="576064"/>
          </a:xfrm>
          <a:prstGeom prst="wedgeRectCallout">
            <a:avLst>
              <a:gd name="adj1" fmla="val 64416"/>
              <a:gd name="adj2" fmla="val 81259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3200" b="1" dirty="0" smtClean="0">
                <a:solidFill>
                  <a:srgbClr val="383637"/>
                </a:solidFill>
              </a:rPr>
              <a:t>Hello?</a:t>
            </a:r>
            <a:endParaRPr lang="ko-KR" altLang="en-US" sz="3200" b="1" dirty="0">
              <a:solidFill>
                <a:srgbClr val="383637"/>
              </a:solidFill>
            </a:endParaRPr>
          </a:p>
        </p:txBody>
      </p:sp>
      <p:sp>
        <p:nvSpPr>
          <p:cNvPr id="14" name="TextBox 25"/>
          <p:cNvSpPr txBox="1">
            <a:spLocks noChangeArrowheads="1"/>
          </p:cNvSpPr>
          <p:nvPr/>
        </p:nvSpPr>
        <p:spPr bwMode="auto">
          <a:xfrm>
            <a:off x="755576" y="404664"/>
            <a:ext cx="3168352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42900" indent="-342900"/>
            <a:r>
              <a:rPr lang="en-US" altLang="ko-KR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배달의민족 한나" pitchFamily="2" charset="-127"/>
                <a:ea typeface="배달의민족 한나" pitchFamily="2" charset="-127"/>
              </a:rPr>
              <a:t>Acoustic Phonetics</a:t>
            </a:r>
            <a:endParaRPr lang="en-US" altLang="ko-KR" sz="2800" dirty="0" smtClean="0">
              <a:solidFill>
                <a:srgbClr val="393738"/>
              </a:solidFill>
              <a:latin typeface="배달의민족 한나" pitchFamily="2" charset="-127"/>
              <a:ea typeface="배달의민족 한나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9648063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25"/>
          <p:cNvSpPr txBox="1">
            <a:spLocks noChangeArrowheads="1"/>
          </p:cNvSpPr>
          <p:nvPr/>
        </p:nvSpPr>
        <p:spPr bwMode="auto">
          <a:xfrm>
            <a:off x="755576" y="404664"/>
            <a:ext cx="3168352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42900" indent="-342900"/>
            <a:r>
              <a:rPr lang="en-US" altLang="ko-KR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배달의민족 한나" pitchFamily="2" charset="-127"/>
                <a:ea typeface="배달의민족 한나" pitchFamily="2" charset="-127"/>
              </a:rPr>
              <a:t>Acoustic Phonetics</a:t>
            </a:r>
            <a:endParaRPr lang="en-US" altLang="ko-KR" sz="2800" dirty="0" smtClean="0">
              <a:solidFill>
                <a:srgbClr val="393738"/>
              </a:solidFill>
              <a:latin typeface="배달의민족 한나" pitchFamily="2" charset="-127"/>
              <a:ea typeface="배달의민족 한나" pitchFamily="2" charset="-127"/>
            </a:endParaRPr>
          </a:p>
        </p:txBody>
      </p:sp>
      <p:cxnSp>
        <p:nvCxnSpPr>
          <p:cNvPr id="4" name="직선 연결선 3"/>
          <p:cNvCxnSpPr/>
          <p:nvPr/>
        </p:nvCxnSpPr>
        <p:spPr>
          <a:xfrm>
            <a:off x="179512" y="236354"/>
            <a:ext cx="446400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/>
          <p:cNvSpPr txBox="1">
            <a:spLocks noChangeArrowheads="1"/>
          </p:cNvSpPr>
          <p:nvPr/>
        </p:nvSpPr>
        <p:spPr bwMode="auto">
          <a:xfrm>
            <a:off x="35496" y="182250"/>
            <a:ext cx="2736304" cy="144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42900" indent="-342900"/>
            <a:r>
              <a:rPr lang="en-US" altLang="ko-KR" sz="8800" dirty="0" smtClean="0">
                <a:solidFill>
                  <a:srgbClr val="393738"/>
                </a:solidFill>
                <a:latin typeface="나눔고딕 ExtraBold" pitchFamily="50" charset="-127"/>
                <a:ea typeface="나눔고딕 ExtraBold" pitchFamily="50" charset="-127"/>
              </a:rPr>
              <a:t>1</a:t>
            </a:r>
          </a:p>
        </p:txBody>
      </p:sp>
      <p:cxnSp>
        <p:nvCxnSpPr>
          <p:cNvPr id="6" name="직선 연결선 5"/>
          <p:cNvCxnSpPr/>
          <p:nvPr/>
        </p:nvCxnSpPr>
        <p:spPr>
          <a:xfrm>
            <a:off x="179512" y="1556792"/>
            <a:ext cx="446400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25"/>
          <p:cNvSpPr txBox="1">
            <a:spLocks noChangeArrowheads="1"/>
          </p:cNvSpPr>
          <p:nvPr/>
        </p:nvSpPr>
        <p:spPr bwMode="auto">
          <a:xfrm>
            <a:off x="179512" y="1685074"/>
            <a:ext cx="2232248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42900" indent="-342900" algn="ctr"/>
            <a:r>
              <a:rPr lang="en-US" altLang="ko-KR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□ </a:t>
            </a:r>
            <a:r>
              <a:rPr lang="ko-KR" alt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배달의민족 한나" pitchFamily="2" charset="-127"/>
                <a:ea typeface="배달의민족 한나" pitchFamily="2" charset="-127"/>
              </a:rPr>
              <a:t>음성학의 종류</a:t>
            </a:r>
            <a:r>
              <a:rPr lang="en-US" altLang="ko-KR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배달의민족 한나" pitchFamily="2" charset="-127"/>
                <a:ea typeface="배달의민족 한나" pitchFamily="2" charset="-127"/>
              </a:rPr>
              <a:t> </a:t>
            </a:r>
            <a:endParaRPr lang="ko-KR" altLang="en-US" sz="2400" dirty="0" smtClean="0">
              <a:solidFill>
                <a:schemeClr val="tx1">
                  <a:lumMod val="75000"/>
                  <a:lumOff val="25000"/>
                </a:schemeClr>
              </a:solidFill>
              <a:latin typeface="배달의민족 한나" pitchFamily="2" charset="-127"/>
              <a:ea typeface="배달의민족 한나" pitchFamily="2" charset="-127"/>
            </a:endParaRPr>
          </a:p>
        </p:txBody>
      </p:sp>
      <p:sp>
        <p:nvSpPr>
          <p:cNvPr id="21" name="TextBox 25"/>
          <p:cNvSpPr txBox="1">
            <a:spLocks noChangeArrowheads="1"/>
          </p:cNvSpPr>
          <p:nvPr/>
        </p:nvSpPr>
        <p:spPr bwMode="auto">
          <a:xfrm>
            <a:off x="827584" y="908720"/>
            <a:ext cx="4176464" cy="3103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t">
            <a:spAutoFit/>
          </a:bodyPr>
          <a:lstStyle/>
          <a:p>
            <a:pPr marL="342900" indent="-342900">
              <a:lnSpc>
                <a:spcPts val="1700"/>
              </a:lnSpc>
            </a:pPr>
            <a:r>
              <a:rPr lang="en-US" altLang="ko-KR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바른고딕" pitchFamily="50" charset="-127"/>
                <a:ea typeface="나눔바른고딕" pitchFamily="50" charset="-127"/>
              </a:rPr>
              <a:t>Overview</a:t>
            </a:r>
            <a:endParaRPr lang="en-US" altLang="ko-KR" sz="1400" dirty="0">
              <a:solidFill>
                <a:schemeClr val="tx1">
                  <a:lumMod val="65000"/>
                  <a:lumOff val="35000"/>
                </a:schemeClr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17" name="Rectangle 3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95536" y="2238148"/>
            <a:ext cx="8352928" cy="41143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72000" tIns="0" rIns="0" bIns="0"/>
          <a:lstStyle/>
          <a:p>
            <a:pPr marL="85725">
              <a:lnSpc>
                <a:spcPct val="150000"/>
              </a:lnSpc>
              <a:spcAft>
                <a:spcPct val="20000"/>
              </a:spcAft>
              <a:defRPr/>
            </a:pPr>
            <a:endParaRPr kumimoji="0" lang="en-US" altLang="ko-KR" sz="1600" b="1" kern="0" dirty="0">
              <a:ln>
                <a:solidFill>
                  <a:srgbClr val="383637"/>
                </a:solidFill>
              </a:ln>
              <a:latin typeface="+mn-ea"/>
              <a:ea typeface="+mn-ea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395040" y="2228216"/>
            <a:ext cx="828141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000" b="1" dirty="0" smtClean="0">
                <a:solidFill>
                  <a:srgbClr val="393738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○ </a:t>
            </a:r>
            <a:r>
              <a:rPr lang="ko-KR" altLang="en-US" sz="2000" b="1" dirty="0" smtClean="0">
                <a:solidFill>
                  <a:srgbClr val="393738"/>
                </a:solidFill>
                <a:latin typeface="맑은 고딕" panose="020B0503020000020004" pitchFamily="50" charset="-127"/>
              </a:rPr>
              <a:t>조음 음성학</a:t>
            </a:r>
            <a:r>
              <a:rPr lang="en-US" altLang="ko-KR" sz="2000" b="1" dirty="0">
                <a:solidFill>
                  <a:srgbClr val="393738"/>
                </a:solidFill>
                <a:latin typeface="맑은 고딕" panose="020B0503020000020004" pitchFamily="50" charset="-127"/>
              </a:rPr>
              <a:t>(Articulatory-Phonetics)</a:t>
            </a:r>
          </a:p>
          <a:p>
            <a:endParaRPr lang="en-US" altLang="ko-KR" sz="800" b="1" dirty="0" smtClean="0">
              <a:solidFill>
                <a:srgbClr val="393738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r>
              <a:rPr lang="en-US" altLang="ko-KR" sz="1600" dirty="0" smtClean="0">
                <a:solidFill>
                  <a:srgbClr val="393738"/>
                </a:solidFill>
              </a:rPr>
              <a:t> - </a:t>
            </a:r>
            <a:r>
              <a:rPr lang="ko-KR" altLang="en-US" sz="1600" dirty="0">
                <a:solidFill>
                  <a:srgbClr val="393738"/>
                </a:solidFill>
              </a:rPr>
              <a:t>말소리가 몸 안에서 만들어져서 입술이나 코 밖으로 빠져나가기 전까지의 몸 안에서 이루어지는 </a:t>
            </a:r>
            <a:r>
              <a:rPr lang="ko-KR" altLang="en-US" sz="1600" dirty="0" err="1" smtClean="0">
                <a:solidFill>
                  <a:srgbClr val="393738"/>
                </a:solidFill>
              </a:rPr>
              <a:t>생성적</a:t>
            </a:r>
            <a:r>
              <a:rPr lang="en-US" altLang="ko-KR" sz="1600" dirty="0" smtClean="0">
                <a:solidFill>
                  <a:srgbClr val="393738"/>
                </a:solidFill>
              </a:rPr>
              <a:t>, </a:t>
            </a:r>
            <a:r>
              <a:rPr lang="ko-KR" altLang="en-US" sz="1600" dirty="0" smtClean="0">
                <a:solidFill>
                  <a:srgbClr val="393738"/>
                </a:solidFill>
              </a:rPr>
              <a:t>기능적 </a:t>
            </a:r>
            <a:r>
              <a:rPr lang="ko-KR" altLang="en-US" sz="1600" dirty="0">
                <a:solidFill>
                  <a:srgbClr val="393738"/>
                </a:solidFill>
              </a:rPr>
              <a:t>과정을 연구 영역으로 삼아 과학적으로 연구하는 </a:t>
            </a:r>
            <a:r>
              <a:rPr lang="ko-KR" altLang="en-US" sz="1600" dirty="0" smtClean="0">
                <a:solidFill>
                  <a:srgbClr val="393738"/>
                </a:solidFill>
              </a:rPr>
              <a:t>학문</a:t>
            </a:r>
            <a:endParaRPr lang="en-US" altLang="ko-KR" sz="1600" dirty="0">
              <a:solidFill>
                <a:srgbClr val="393738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390603" y="3533331"/>
            <a:ext cx="786691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000" b="1" dirty="0" smtClean="0">
                <a:solidFill>
                  <a:srgbClr val="393738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○ </a:t>
            </a:r>
            <a:r>
              <a:rPr lang="ko-KR" alt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배달의민족 한나" pitchFamily="2" charset="-127"/>
                <a:ea typeface="배달의민족 한나" pitchFamily="2" charset="-127"/>
              </a:rPr>
              <a:t>음향 음성학</a:t>
            </a:r>
            <a:r>
              <a:rPr lang="en-US" altLang="ko-KR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배달의민족 한나" pitchFamily="2" charset="-127"/>
                <a:ea typeface="배달의민족 한나" pitchFamily="2" charset="-127"/>
              </a:rPr>
              <a:t>(Acoustic Phonetics)</a:t>
            </a:r>
          </a:p>
          <a:p>
            <a:endParaRPr lang="en-US" altLang="ko-KR" sz="800" b="1" dirty="0" smtClean="0">
              <a:solidFill>
                <a:srgbClr val="393738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r>
              <a:rPr lang="en-US" altLang="ko-KR" sz="1600" dirty="0" smtClean="0">
                <a:solidFill>
                  <a:srgbClr val="393738"/>
                </a:solidFill>
              </a:rPr>
              <a:t>  - </a:t>
            </a:r>
            <a:r>
              <a:rPr lang="ko-KR" altLang="en-US" sz="1600" dirty="0">
                <a:solidFill>
                  <a:srgbClr val="393738"/>
                </a:solidFill>
              </a:rPr>
              <a:t>입술이나 코 밖으로 빠져나간 소리가 청자의 고막을 울리기 전까지 대기 중에서 일어나는 소리의 물리적 파동 현상을 연구대상으로 해서 과학적으로 연구하는 </a:t>
            </a:r>
            <a:r>
              <a:rPr lang="ko-KR" altLang="en-US" sz="1600" dirty="0" smtClean="0">
                <a:solidFill>
                  <a:srgbClr val="393738"/>
                </a:solidFill>
              </a:rPr>
              <a:t>학문</a:t>
            </a:r>
            <a:endParaRPr lang="en-US" altLang="ko-KR" sz="1600" dirty="0">
              <a:solidFill>
                <a:srgbClr val="393738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390603" y="4838447"/>
            <a:ext cx="786691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000" b="1" dirty="0" smtClean="0">
                <a:solidFill>
                  <a:srgbClr val="393738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○ </a:t>
            </a:r>
            <a:r>
              <a:rPr lang="ko-KR" alt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배달의민족 한나" pitchFamily="2" charset="-127"/>
                <a:ea typeface="배달의민족 한나" pitchFamily="2" charset="-127"/>
              </a:rPr>
              <a:t>청각 음성학</a:t>
            </a:r>
            <a:r>
              <a:rPr lang="en-US" altLang="ko-KR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배달의민족 한나" pitchFamily="2" charset="-127"/>
                <a:ea typeface="배달의민족 한나" pitchFamily="2" charset="-127"/>
              </a:rPr>
              <a:t>(Auditory Phonetics)</a:t>
            </a:r>
          </a:p>
          <a:p>
            <a:endParaRPr lang="en-US" altLang="ko-KR" sz="800" b="1" dirty="0" smtClean="0">
              <a:solidFill>
                <a:srgbClr val="393738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r>
              <a:rPr lang="en-US" altLang="ko-KR" sz="1600" dirty="0" smtClean="0">
                <a:solidFill>
                  <a:srgbClr val="393738"/>
                </a:solidFill>
              </a:rPr>
              <a:t>  - </a:t>
            </a:r>
            <a:r>
              <a:rPr lang="ko-KR" altLang="en-US" sz="1600" dirty="0">
                <a:solidFill>
                  <a:srgbClr val="393738"/>
                </a:solidFill>
              </a:rPr>
              <a:t>고막을 울린 소리</a:t>
            </a:r>
            <a:r>
              <a:rPr lang="en-US" altLang="ko-KR" sz="1600" dirty="0">
                <a:solidFill>
                  <a:srgbClr val="393738"/>
                </a:solidFill>
              </a:rPr>
              <a:t>, </a:t>
            </a:r>
            <a:r>
              <a:rPr lang="ko-KR" altLang="en-US" sz="1600" dirty="0">
                <a:solidFill>
                  <a:srgbClr val="393738"/>
                </a:solidFill>
              </a:rPr>
              <a:t>즉 </a:t>
            </a:r>
            <a:r>
              <a:rPr lang="ko-KR" altLang="en-US" sz="1600" dirty="0" smtClean="0">
                <a:solidFill>
                  <a:srgbClr val="393738"/>
                </a:solidFill>
              </a:rPr>
              <a:t>청각 현상이 </a:t>
            </a:r>
            <a:r>
              <a:rPr lang="ko-KR" altLang="en-US" sz="1600" dirty="0">
                <a:solidFill>
                  <a:srgbClr val="393738"/>
                </a:solidFill>
              </a:rPr>
              <a:t>귀속의 관련 기관을 거쳐 머릿속으로 전달되어 의미를 식별하기까지의 과정에 대해서 과학적으로 연구하는 </a:t>
            </a:r>
            <a:r>
              <a:rPr lang="ko-KR" altLang="en-US" sz="1600" dirty="0" smtClean="0">
                <a:solidFill>
                  <a:srgbClr val="393738"/>
                </a:solidFill>
              </a:rPr>
              <a:t>학문</a:t>
            </a:r>
            <a:endParaRPr lang="en-US" altLang="ko-KR" sz="1600" dirty="0">
              <a:solidFill>
                <a:srgbClr val="39373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69127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25"/>
          <p:cNvSpPr txBox="1">
            <a:spLocks noChangeArrowheads="1"/>
          </p:cNvSpPr>
          <p:nvPr/>
        </p:nvSpPr>
        <p:spPr bwMode="auto">
          <a:xfrm>
            <a:off x="755576" y="404664"/>
            <a:ext cx="3168352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42900" indent="-342900"/>
            <a:r>
              <a:rPr lang="en-US" altLang="ko-KR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배달의민족 한나" pitchFamily="2" charset="-127"/>
                <a:ea typeface="배달의민족 한나" pitchFamily="2" charset="-127"/>
              </a:rPr>
              <a:t>Acoustic Phonetics</a:t>
            </a:r>
            <a:endParaRPr lang="en-US" altLang="ko-KR" sz="2800" dirty="0" smtClean="0">
              <a:solidFill>
                <a:srgbClr val="393738"/>
              </a:solidFill>
              <a:latin typeface="배달의민족 한나" pitchFamily="2" charset="-127"/>
              <a:ea typeface="배달의민족 한나" pitchFamily="2" charset="-127"/>
            </a:endParaRPr>
          </a:p>
        </p:txBody>
      </p:sp>
      <p:cxnSp>
        <p:nvCxnSpPr>
          <p:cNvPr id="4" name="직선 연결선 3"/>
          <p:cNvCxnSpPr/>
          <p:nvPr/>
        </p:nvCxnSpPr>
        <p:spPr>
          <a:xfrm>
            <a:off x="179512" y="236354"/>
            <a:ext cx="446400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/>
          <p:cNvSpPr txBox="1">
            <a:spLocks noChangeArrowheads="1"/>
          </p:cNvSpPr>
          <p:nvPr/>
        </p:nvSpPr>
        <p:spPr bwMode="auto">
          <a:xfrm>
            <a:off x="35496" y="182250"/>
            <a:ext cx="2736304" cy="144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42900" indent="-342900"/>
            <a:r>
              <a:rPr lang="en-US" altLang="ko-KR" sz="8800" dirty="0" smtClean="0">
                <a:solidFill>
                  <a:srgbClr val="393738"/>
                </a:solidFill>
                <a:latin typeface="나눔고딕 ExtraBold" pitchFamily="50" charset="-127"/>
                <a:ea typeface="나눔고딕 ExtraBold" pitchFamily="50" charset="-127"/>
              </a:rPr>
              <a:t>1</a:t>
            </a:r>
          </a:p>
        </p:txBody>
      </p:sp>
      <p:cxnSp>
        <p:nvCxnSpPr>
          <p:cNvPr id="6" name="직선 연결선 5"/>
          <p:cNvCxnSpPr/>
          <p:nvPr/>
        </p:nvCxnSpPr>
        <p:spPr>
          <a:xfrm>
            <a:off x="179512" y="1556792"/>
            <a:ext cx="446400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25"/>
          <p:cNvSpPr txBox="1">
            <a:spLocks noChangeArrowheads="1"/>
          </p:cNvSpPr>
          <p:nvPr/>
        </p:nvSpPr>
        <p:spPr bwMode="auto">
          <a:xfrm>
            <a:off x="179512" y="1685074"/>
            <a:ext cx="3168352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42900" indent="-342900" algn="ctr"/>
            <a:r>
              <a:rPr lang="en-US" altLang="ko-KR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□ </a:t>
            </a:r>
            <a:r>
              <a:rPr lang="en-US" altLang="ko-KR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배달의민족 한나" pitchFamily="2" charset="-127"/>
                <a:ea typeface="배달의민족 한나" pitchFamily="2" charset="-127"/>
              </a:rPr>
              <a:t>Acoustic Phonetics </a:t>
            </a:r>
            <a:endParaRPr lang="ko-KR" altLang="en-US" sz="2400" dirty="0" smtClean="0">
              <a:solidFill>
                <a:schemeClr val="tx1">
                  <a:lumMod val="75000"/>
                  <a:lumOff val="25000"/>
                </a:schemeClr>
              </a:solidFill>
              <a:latin typeface="배달의민족 한나" pitchFamily="2" charset="-127"/>
              <a:ea typeface="배달의민족 한나" pitchFamily="2" charset="-127"/>
            </a:endParaRPr>
          </a:p>
        </p:txBody>
      </p:sp>
      <p:sp>
        <p:nvSpPr>
          <p:cNvPr id="21" name="TextBox 25"/>
          <p:cNvSpPr txBox="1">
            <a:spLocks noChangeArrowheads="1"/>
          </p:cNvSpPr>
          <p:nvPr/>
        </p:nvSpPr>
        <p:spPr bwMode="auto">
          <a:xfrm>
            <a:off x="827584" y="908720"/>
            <a:ext cx="4176464" cy="308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t">
            <a:spAutoFit/>
          </a:bodyPr>
          <a:lstStyle/>
          <a:p>
            <a:pPr marL="342900" indent="-342900">
              <a:lnSpc>
                <a:spcPts val="1700"/>
              </a:lnSpc>
            </a:pPr>
            <a:r>
              <a:rPr lang="en-US" altLang="ko-KR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나눔바른고딕" pitchFamily="50" charset="-127"/>
                <a:ea typeface="나눔바른고딕" pitchFamily="50" charset="-127"/>
              </a:rPr>
              <a:t>Acoustic Phonetics</a:t>
            </a:r>
          </a:p>
        </p:txBody>
      </p:sp>
      <p:sp>
        <p:nvSpPr>
          <p:cNvPr id="17" name="Rectangle 3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95536" y="2238148"/>
            <a:ext cx="8352928" cy="41143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72000" tIns="0" rIns="0" bIns="0"/>
          <a:lstStyle/>
          <a:p>
            <a:pPr marL="85725">
              <a:lnSpc>
                <a:spcPct val="150000"/>
              </a:lnSpc>
              <a:spcAft>
                <a:spcPct val="20000"/>
              </a:spcAft>
              <a:defRPr/>
            </a:pPr>
            <a:endParaRPr kumimoji="0" lang="en-US" altLang="ko-KR" sz="1600" b="1" kern="0" dirty="0">
              <a:ln>
                <a:solidFill>
                  <a:srgbClr val="383637"/>
                </a:solidFill>
              </a:ln>
              <a:latin typeface="+mn-ea"/>
              <a:ea typeface="+mn-ea"/>
            </a:endParaRPr>
          </a:p>
        </p:txBody>
      </p:sp>
      <p:pic>
        <p:nvPicPr>
          <p:cNvPr id="3" name="그림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7808" y="2212700"/>
            <a:ext cx="8028384" cy="4096620"/>
          </a:xfrm>
          <a:prstGeom prst="rect">
            <a:avLst/>
          </a:prstGeom>
        </p:spPr>
      </p:pic>
      <p:cxnSp>
        <p:nvCxnSpPr>
          <p:cNvPr id="10" name="직선 화살표 연결선 9"/>
          <p:cNvCxnSpPr/>
          <p:nvPr/>
        </p:nvCxnSpPr>
        <p:spPr>
          <a:xfrm>
            <a:off x="685694" y="4637218"/>
            <a:ext cx="1800200" cy="0"/>
          </a:xfrm>
          <a:prstGeom prst="straightConnector1">
            <a:avLst/>
          </a:prstGeom>
          <a:ln w="28575"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611560" y="4703180"/>
            <a:ext cx="21712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b="1" dirty="0" smtClean="0">
                <a:ln>
                  <a:solidFill>
                    <a:srgbClr val="FF0000"/>
                  </a:solidFill>
                </a:ln>
                <a:solidFill>
                  <a:srgbClr val="FF0000"/>
                </a:solidFill>
              </a:rPr>
              <a:t>Frequency(</a:t>
            </a:r>
            <a:r>
              <a:rPr lang="ko-KR" altLang="en-US" b="1" dirty="0" smtClean="0">
                <a:ln>
                  <a:solidFill>
                    <a:srgbClr val="FF0000"/>
                  </a:solidFill>
                </a:ln>
                <a:solidFill>
                  <a:srgbClr val="FF0000"/>
                </a:solidFill>
              </a:rPr>
              <a:t>주파수</a:t>
            </a:r>
            <a:r>
              <a:rPr lang="en-US" altLang="ko-KR" b="1" dirty="0" smtClean="0">
                <a:ln>
                  <a:solidFill>
                    <a:srgbClr val="FF0000"/>
                  </a:solidFill>
                </a:ln>
                <a:solidFill>
                  <a:srgbClr val="FF0000"/>
                </a:solidFill>
              </a:rPr>
              <a:t>)</a:t>
            </a:r>
            <a:endParaRPr lang="ko-KR" altLang="en-US" b="1" dirty="0">
              <a:ln>
                <a:solidFill>
                  <a:srgbClr val="FF0000"/>
                </a:solidFill>
              </a:ln>
              <a:solidFill>
                <a:srgbClr val="FF0000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3921432" y="4131410"/>
            <a:ext cx="255230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2400" b="1" dirty="0" smtClean="0">
                <a:ln>
                  <a:solidFill>
                    <a:srgbClr val="FF0000"/>
                  </a:solidFill>
                </a:ln>
                <a:solidFill>
                  <a:srgbClr val="FF0000"/>
                </a:solidFill>
              </a:rPr>
              <a:t>Amplitude(</a:t>
            </a:r>
            <a:r>
              <a:rPr lang="ko-KR" altLang="en-US" sz="2400" b="1" dirty="0" smtClean="0">
                <a:ln>
                  <a:solidFill>
                    <a:srgbClr val="FF0000"/>
                  </a:solidFill>
                </a:ln>
                <a:solidFill>
                  <a:srgbClr val="FF0000"/>
                </a:solidFill>
              </a:rPr>
              <a:t>진폭</a:t>
            </a:r>
            <a:r>
              <a:rPr lang="en-US" altLang="ko-KR" sz="2400" b="1" dirty="0" smtClean="0">
                <a:ln>
                  <a:solidFill>
                    <a:srgbClr val="FF0000"/>
                  </a:solidFill>
                </a:ln>
                <a:solidFill>
                  <a:srgbClr val="FF0000"/>
                </a:solidFill>
              </a:rPr>
              <a:t>)</a:t>
            </a:r>
            <a:endParaRPr lang="ko-KR" altLang="en-US" sz="2400" b="1" dirty="0">
              <a:ln>
                <a:solidFill>
                  <a:srgbClr val="FF0000"/>
                </a:solidFill>
              </a:ln>
              <a:solidFill>
                <a:srgbClr val="FF0000"/>
              </a:solidFill>
            </a:endParaRPr>
          </a:p>
        </p:txBody>
      </p:sp>
      <p:cxnSp>
        <p:nvCxnSpPr>
          <p:cNvPr id="22" name="직선 화살표 연결선 21"/>
          <p:cNvCxnSpPr/>
          <p:nvPr/>
        </p:nvCxnSpPr>
        <p:spPr>
          <a:xfrm flipH="1">
            <a:off x="611560" y="6159257"/>
            <a:ext cx="7848872" cy="6047"/>
          </a:xfrm>
          <a:prstGeom prst="straightConnector1">
            <a:avLst/>
          </a:prstGeom>
          <a:ln w="28575"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/>
        </p:nvSpPr>
        <p:spPr>
          <a:xfrm>
            <a:off x="5220072" y="5631631"/>
            <a:ext cx="379142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400" b="1" dirty="0" smtClean="0">
                <a:ln>
                  <a:solidFill>
                    <a:srgbClr val="FF0000"/>
                  </a:solidFill>
                </a:ln>
                <a:solidFill>
                  <a:srgbClr val="FF0000"/>
                </a:solidFill>
              </a:rPr>
              <a:t>Time, Duration(</a:t>
            </a:r>
            <a:r>
              <a:rPr lang="ko-KR" altLang="en-US" sz="2400" b="1" dirty="0" smtClean="0">
                <a:ln>
                  <a:solidFill>
                    <a:srgbClr val="FF0000"/>
                  </a:solidFill>
                </a:ln>
                <a:solidFill>
                  <a:srgbClr val="FF0000"/>
                </a:solidFill>
              </a:rPr>
              <a:t>시간</a:t>
            </a:r>
            <a:r>
              <a:rPr lang="en-US" altLang="ko-KR" sz="2400" b="1" dirty="0" smtClean="0">
                <a:ln>
                  <a:solidFill>
                    <a:srgbClr val="FF0000"/>
                  </a:solidFill>
                </a:ln>
                <a:solidFill>
                  <a:srgbClr val="FF0000"/>
                </a:solidFill>
              </a:rPr>
              <a:t>)</a:t>
            </a:r>
            <a:endParaRPr lang="ko-KR" altLang="en-US" sz="2400" b="1" dirty="0">
              <a:ln>
                <a:solidFill>
                  <a:srgbClr val="FF0000"/>
                </a:solidFill>
              </a:ln>
              <a:solidFill>
                <a:srgbClr val="FF0000"/>
              </a:solidFill>
            </a:endParaRPr>
          </a:p>
        </p:txBody>
      </p:sp>
      <p:cxnSp>
        <p:nvCxnSpPr>
          <p:cNvPr id="27" name="직선 화살표 연결선 26"/>
          <p:cNvCxnSpPr/>
          <p:nvPr/>
        </p:nvCxnSpPr>
        <p:spPr>
          <a:xfrm>
            <a:off x="3779912" y="2649584"/>
            <a:ext cx="48194" cy="1943491"/>
          </a:xfrm>
          <a:prstGeom prst="straightConnector1">
            <a:avLst/>
          </a:prstGeom>
          <a:ln w="28575"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451372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25"/>
          <p:cNvSpPr txBox="1">
            <a:spLocks noChangeArrowheads="1"/>
          </p:cNvSpPr>
          <p:nvPr/>
        </p:nvSpPr>
        <p:spPr bwMode="auto">
          <a:xfrm>
            <a:off x="755576" y="404664"/>
            <a:ext cx="3168352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42900" indent="-342900"/>
            <a:r>
              <a:rPr lang="en-US" altLang="ko-KR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배달의민족 한나" pitchFamily="2" charset="-127"/>
                <a:ea typeface="배달의민족 한나" pitchFamily="2" charset="-127"/>
              </a:rPr>
              <a:t>Acoustic Phonetics</a:t>
            </a:r>
            <a:endParaRPr lang="en-US" altLang="ko-KR" sz="2800" dirty="0" smtClean="0">
              <a:solidFill>
                <a:srgbClr val="393738"/>
              </a:solidFill>
              <a:latin typeface="배달의민족 한나" pitchFamily="2" charset="-127"/>
              <a:ea typeface="배달의민족 한나" pitchFamily="2" charset="-127"/>
            </a:endParaRPr>
          </a:p>
        </p:txBody>
      </p:sp>
      <p:cxnSp>
        <p:nvCxnSpPr>
          <p:cNvPr id="4" name="직선 연결선 3"/>
          <p:cNvCxnSpPr/>
          <p:nvPr/>
        </p:nvCxnSpPr>
        <p:spPr>
          <a:xfrm>
            <a:off x="179512" y="236354"/>
            <a:ext cx="446400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/>
          <p:cNvSpPr txBox="1">
            <a:spLocks noChangeArrowheads="1"/>
          </p:cNvSpPr>
          <p:nvPr/>
        </p:nvSpPr>
        <p:spPr bwMode="auto">
          <a:xfrm>
            <a:off x="35496" y="182250"/>
            <a:ext cx="2736304" cy="144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42900" indent="-342900"/>
            <a:r>
              <a:rPr lang="en-US" altLang="ko-KR" sz="8800" dirty="0" smtClean="0">
                <a:solidFill>
                  <a:srgbClr val="393738"/>
                </a:solidFill>
                <a:latin typeface="나눔고딕 ExtraBold" pitchFamily="50" charset="-127"/>
                <a:ea typeface="나눔고딕 ExtraBold" pitchFamily="50" charset="-127"/>
              </a:rPr>
              <a:t>1</a:t>
            </a:r>
          </a:p>
        </p:txBody>
      </p:sp>
      <p:cxnSp>
        <p:nvCxnSpPr>
          <p:cNvPr id="6" name="직선 연결선 5"/>
          <p:cNvCxnSpPr/>
          <p:nvPr/>
        </p:nvCxnSpPr>
        <p:spPr>
          <a:xfrm>
            <a:off x="179512" y="1556792"/>
            <a:ext cx="446400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25"/>
          <p:cNvSpPr txBox="1">
            <a:spLocks noChangeArrowheads="1"/>
          </p:cNvSpPr>
          <p:nvPr/>
        </p:nvSpPr>
        <p:spPr bwMode="auto">
          <a:xfrm>
            <a:off x="179512" y="1685074"/>
            <a:ext cx="4032448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42900" indent="-342900" algn="ctr"/>
            <a:r>
              <a:rPr lang="en-US" altLang="ko-KR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□ </a:t>
            </a:r>
            <a:r>
              <a:rPr lang="ko-KR" alt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배달의민족 한나" pitchFamily="2" charset="-127"/>
                <a:ea typeface="배달의민족 한나" pitchFamily="2" charset="-127"/>
              </a:rPr>
              <a:t>일상 생활 속의 음성인식 활용</a:t>
            </a:r>
            <a:r>
              <a:rPr lang="en-US" altLang="ko-KR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배달의민족 한나" pitchFamily="2" charset="-127"/>
                <a:ea typeface="배달의민족 한나" pitchFamily="2" charset="-127"/>
              </a:rPr>
              <a:t> </a:t>
            </a:r>
            <a:endParaRPr lang="ko-KR" altLang="en-US" sz="2400" dirty="0" smtClean="0">
              <a:solidFill>
                <a:schemeClr val="tx1">
                  <a:lumMod val="75000"/>
                  <a:lumOff val="25000"/>
                </a:schemeClr>
              </a:solidFill>
              <a:latin typeface="배달의민족 한나" pitchFamily="2" charset="-127"/>
              <a:ea typeface="배달의민족 한나" pitchFamily="2" charset="-127"/>
            </a:endParaRPr>
          </a:p>
        </p:txBody>
      </p:sp>
      <p:sp>
        <p:nvSpPr>
          <p:cNvPr id="21" name="TextBox 25"/>
          <p:cNvSpPr txBox="1">
            <a:spLocks noChangeArrowheads="1"/>
          </p:cNvSpPr>
          <p:nvPr/>
        </p:nvSpPr>
        <p:spPr bwMode="auto">
          <a:xfrm>
            <a:off x="827584" y="908720"/>
            <a:ext cx="4176464" cy="3103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t">
            <a:spAutoFit/>
          </a:bodyPr>
          <a:lstStyle/>
          <a:p>
            <a:pPr marL="342900" indent="-342900">
              <a:lnSpc>
                <a:spcPts val="1700"/>
              </a:lnSpc>
            </a:pPr>
            <a:r>
              <a:rPr lang="en-US" altLang="ko-KR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바른고딕" pitchFamily="50" charset="-127"/>
                <a:ea typeface="나눔바른고딕" pitchFamily="50" charset="-127"/>
              </a:rPr>
              <a:t>Overview</a:t>
            </a:r>
            <a:endParaRPr lang="en-US" altLang="ko-KR" sz="1400" dirty="0">
              <a:solidFill>
                <a:schemeClr val="tx1">
                  <a:lumMod val="65000"/>
                  <a:lumOff val="35000"/>
                </a:schemeClr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17" name="Rectangle 3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95536" y="2238148"/>
            <a:ext cx="8352928" cy="41143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72000" tIns="0" rIns="0" bIns="0"/>
          <a:lstStyle/>
          <a:p>
            <a:pPr marL="85725">
              <a:lnSpc>
                <a:spcPct val="150000"/>
              </a:lnSpc>
              <a:spcAft>
                <a:spcPct val="20000"/>
              </a:spcAft>
              <a:defRPr/>
            </a:pPr>
            <a:endParaRPr kumimoji="0" lang="en-US" altLang="ko-KR" sz="1600" b="1" kern="0" dirty="0">
              <a:ln>
                <a:solidFill>
                  <a:srgbClr val="383637"/>
                </a:solidFill>
              </a:ln>
              <a:latin typeface="+mn-ea"/>
              <a:ea typeface="+mn-ea"/>
            </a:endParaRPr>
          </a:p>
        </p:txBody>
      </p:sp>
      <p:pic>
        <p:nvPicPr>
          <p:cNvPr id="3" name="그림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066" y="2312472"/>
            <a:ext cx="7934892" cy="42109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69015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25"/>
          <p:cNvSpPr txBox="1">
            <a:spLocks noChangeArrowheads="1"/>
          </p:cNvSpPr>
          <p:nvPr/>
        </p:nvSpPr>
        <p:spPr bwMode="auto">
          <a:xfrm>
            <a:off x="755576" y="404664"/>
            <a:ext cx="3168352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42900" indent="-342900"/>
            <a:r>
              <a:rPr lang="ko-KR" altLang="en-US" sz="2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배달의민족 한나" pitchFamily="2" charset="-127"/>
                <a:ea typeface="배달의민족 한나" pitchFamily="2" charset="-127"/>
              </a:rPr>
              <a:t>음성 인식 모델</a:t>
            </a:r>
            <a:endParaRPr lang="en-US" altLang="ko-KR" sz="2800" dirty="0" smtClean="0">
              <a:solidFill>
                <a:srgbClr val="393738"/>
              </a:solidFill>
              <a:latin typeface="배달의민족 한나" pitchFamily="2" charset="-127"/>
              <a:ea typeface="배달의민족 한나" pitchFamily="2" charset="-127"/>
            </a:endParaRPr>
          </a:p>
        </p:txBody>
      </p:sp>
      <p:cxnSp>
        <p:nvCxnSpPr>
          <p:cNvPr id="4" name="직선 연결선 3"/>
          <p:cNvCxnSpPr/>
          <p:nvPr/>
        </p:nvCxnSpPr>
        <p:spPr>
          <a:xfrm>
            <a:off x="179512" y="236354"/>
            <a:ext cx="446400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/>
          <p:cNvSpPr txBox="1">
            <a:spLocks noChangeArrowheads="1"/>
          </p:cNvSpPr>
          <p:nvPr/>
        </p:nvSpPr>
        <p:spPr bwMode="auto">
          <a:xfrm>
            <a:off x="35496" y="182250"/>
            <a:ext cx="2736304" cy="144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42900" indent="-342900"/>
            <a:r>
              <a:rPr lang="en-US" altLang="ko-KR" sz="8800" dirty="0">
                <a:solidFill>
                  <a:srgbClr val="393738"/>
                </a:solidFill>
                <a:latin typeface="나눔고딕 ExtraBold" pitchFamily="50" charset="-127"/>
                <a:ea typeface="나눔고딕 ExtraBold" pitchFamily="50" charset="-127"/>
              </a:rPr>
              <a:t>2</a:t>
            </a:r>
            <a:endParaRPr lang="en-US" altLang="ko-KR" sz="8800" dirty="0" smtClean="0">
              <a:solidFill>
                <a:srgbClr val="393738"/>
              </a:solidFill>
              <a:latin typeface="나눔고딕 ExtraBold" pitchFamily="50" charset="-127"/>
              <a:ea typeface="나눔고딕 ExtraBold" pitchFamily="50" charset="-127"/>
            </a:endParaRPr>
          </a:p>
        </p:txBody>
      </p:sp>
      <p:cxnSp>
        <p:nvCxnSpPr>
          <p:cNvPr id="6" name="직선 연결선 5"/>
          <p:cNvCxnSpPr/>
          <p:nvPr/>
        </p:nvCxnSpPr>
        <p:spPr>
          <a:xfrm>
            <a:off x="179512" y="1556792"/>
            <a:ext cx="446400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25"/>
          <p:cNvSpPr txBox="1">
            <a:spLocks noChangeArrowheads="1"/>
          </p:cNvSpPr>
          <p:nvPr/>
        </p:nvSpPr>
        <p:spPr bwMode="auto">
          <a:xfrm>
            <a:off x="179512" y="1685074"/>
            <a:ext cx="2952328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42900" indent="-342900" algn="ctr"/>
            <a:r>
              <a:rPr lang="en-US" altLang="ko-KR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□ </a:t>
            </a:r>
            <a:r>
              <a:rPr lang="ko-KR" alt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배달의민족 한나" pitchFamily="2" charset="-127"/>
                <a:ea typeface="배달의민족 한나" pitchFamily="2" charset="-127"/>
              </a:rPr>
              <a:t>음성인식의 기본 모델</a:t>
            </a:r>
            <a:r>
              <a:rPr lang="en-US" altLang="ko-KR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배달의민족 한나" pitchFamily="2" charset="-127"/>
                <a:ea typeface="배달의민족 한나" pitchFamily="2" charset="-127"/>
              </a:rPr>
              <a:t> </a:t>
            </a:r>
            <a:endParaRPr lang="ko-KR" altLang="en-US" sz="2400" dirty="0" smtClean="0">
              <a:solidFill>
                <a:schemeClr val="tx1">
                  <a:lumMod val="75000"/>
                  <a:lumOff val="25000"/>
                </a:schemeClr>
              </a:solidFill>
              <a:latin typeface="배달의민족 한나" pitchFamily="2" charset="-127"/>
              <a:ea typeface="배달의민족 한나" pitchFamily="2" charset="-127"/>
            </a:endParaRPr>
          </a:p>
        </p:txBody>
      </p:sp>
      <p:sp>
        <p:nvSpPr>
          <p:cNvPr id="21" name="TextBox 25"/>
          <p:cNvSpPr txBox="1">
            <a:spLocks noChangeArrowheads="1"/>
          </p:cNvSpPr>
          <p:nvPr/>
        </p:nvSpPr>
        <p:spPr bwMode="auto">
          <a:xfrm>
            <a:off x="827584" y="908720"/>
            <a:ext cx="4176464" cy="3103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t">
            <a:spAutoFit/>
          </a:bodyPr>
          <a:lstStyle/>
          <a:p>
            <a:pPr marL="342900" indent="-342900">
              <a:lnSpc>
                <a:spcPts val="1700"/>
              </a:lnSpc>
            </a:pPr>
            <a:r>
              <a:rPr lang="en-US" altLang="ko-KR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바른고딕" pitchFamily="50" charset="-127"/>
                <a:ea typeface="나눔바른고딕" pitchFamily="50" charset="-127"/>
              </a:rPr>
              <a:t>Overview</a:t>
            </a:r>
            <a:endParaRPr lang="en-US" altLang="ko-KR" sz="1400" dirty="0">
              <a:solidFill>
                <a:schemeClr val="tx1">
                  <a:lumMod val="65000"/>
                  <a:lumOff val="35000"/>
                </a:schemeClr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17" name="Rectangle 3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95536" y="2238148"/>
            <a:ext cx="8352928" cy="41143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72000" tIns="0" rIns="0" bIns="0"/>
          <a:lstStyle/>
          <a:p>
            <a:pPr marL="85725">
              <a:lnSpc>
                <a:spcPct val="150000"/>
              </a:lnSpc>
              <a:spcAft>
                <a:spcPct val="20000"/>
              </a:spcAft>
              <a:defRPr/>
            </a:pPr>
            <a:endParaRPr kumimoji="0" lang="en-US" altLang="ko-KR" sz="1600" b="1" kern="0" dirty="0">
              <a:ln>
                <a:solidFill>
                  <a:srgbClr val="383637"/>
                </a:solidFill>
              </a:ln>
              <a:latin typeface="+mn-ea"/>
              <a:ea typeface="+mn-ea"/>
            </a:endParaRPr>
          </a:p>
        </p:txBody>
      </p:sp>
      <p:pic>
        <p:nvPicPr>
          <p:cNvPr id="3" name="그림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000" y="2343150"/>
            <a:ext cx="7620000" cy="2171700"/>
          </a:xfrm>
          <a:prstGeom prst="rect">
            <a:avLst/>
          </a:prstGeom>
        </p:spPr>
      </p:pic>
      <p:grpSp>
        <p:nvGrpSpPr>
          <p:cNvPr id="16" name="그룹 15"/>
          <p:cNvGrpSpPr/>
          <p:nvPr/>
        </p:nvGrpSpPr>
        <p:grpSpPr>
          <a:xfrm>
            <a:off x="762000" y="3861049"/>
            <a:ext cx="3954016" cy="1995332"/>
            <a:chOff x="762000" y="3861049"/>
            <a:chExt cx="3954016" cy="1995332"/>
          </a:xfrm>
        </p:grpSpPr>
        <p:pic>
          <p:nvPicPr>
            <p:cNvPr id="7" name="그림 6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62000" y="4725144"/>
              <a:ext cx="3954016" cy="761905"/>
            </a:xfrm>
            <a:prstGeom prst="rect">
              <a:avLst/>
            </a:prstGeom>
          </p:spPr>
        </p:pic>
        <p:cxnSp>
          <p:nvCxnSpPr>
            <p:cNvPr id="10" name="직선 화살표 연결선 9"/>
            <p:cNvCxnSpPr>
              <a:stCxn id="7" idx="0"/>
            </p:cNvCxnSpPr>
            <p:nvPr/>
          </p:nvCxnSpPr>
          <p:spPr>
            <a:xfrm flipV="1">
              <a:off x="2739008" y="3861049"/>
              <a:ext cx="1184920" cy="864095"/>
            </a:xfrm>
            <a:prstGeom prst="straightConnector1">
              <a:avLst/>
            </a:prstGeom>
            <a:ln w="31750">
              <a:solidFill>
                <a:schemeClr val="tx1"/>
              </a:solidFill>
              <a:headEnd w="lg" len="lg"/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1" name="TextBox 10"/>
            <p:cNvSpPr txBox="1"/>
            <p:nvPr/>
          </p:nvSpPr>
          <p:spPr>
            <a:xfrm>
              <a:off x="1511782" y="5487049"/>
              <a:ext cx="2031197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b="1" dirty="0" smtClean="0"/>
                <a:t>“</a:t>
              </a:r>
              <a:r>
                <a:rPr lang="en-US" altLang="ko-KR" b="1" dirty="0" err="1" smtClean="0"/>
                <a:t>Heeelllllllloooo</a:t>
              </a:r>
              <a:r>
                <a:rPr lang="en-US" altLang="ko-KR" b="1" dirty="0" smtClean="0"/>
                <a:t>”</a:t>
              </a:r>
              <a:endParaRPr lang="ko-KR" altLang="en-US" b="1" dirty="0"/>
            </a:p>
          </p:txBody>
        </p:sp>
      </p:grpSp>
    </p:spTree>
    <p:extLst>
      <p:ext uri="{BB962C8B-B14F-4D97-AF65-F5344CB8AC3E}">
        <p14:creationId xmlns:p14="http://schemas.microsoft.com/office/powerpoint/2010/main" val="17937632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직선 연결선 3"/>
          <p:cNvCxnSpPr/>
          <p:nvPr/>
        </p:nvCxnSpPr>
        <p:spPr>
          <a:xfrm>
            <a:off x="179512" y="236354"/>
            <a:ext cx="446400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/>
          <p:cNvSpPr txBox="1">
            <a:spLocks noChangeArrowheads="1"/>
          </p:cNvSpPr>
          <p:nvPr/>
        </p:nvSpPr>
        <p:spPr bwMode="auto">
          <a:xfrm>
            <a:off x="35496" y="182250"/>
            <a:ext cx="2736304" cy="144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42900" indent="-342900"/>
            <a:r>
              <a:rPr lang="en-US" altLang="ko-KR" sz="8800" dirty="0">
                <a:solidFill>
                  <a:srgbClr val="393738"/>
                </a:solidFill>
                <a:latin typeface="나눔고딕 ExtraBold" pitchFamily="50" charset="-127"/>
                <a:ea typeface="나눔고딕 ExtraBold" pitchFamily="50" charset="-127"/>
              </a:rPr>
              <a:t>2</a:t>
            </a:r>
            <a:endParaRPr lang="en-US" altLang="ko-KR" sz="8800" dirty="0" smtClean="0">
              <a:solidFill>
                <a:srgbClr val="393738"/>
              </a:solidFill>
              <a:latin typeface="나눔고딕 ExtraBold" pitchFamily="50" charset="-127"/>
              <a:ea typeface="나눔고딕 ExtraBold" pitchFamily="50" charset="-127"/>
            </a:endParaRPr>
          </a:p>
        </p:txBody>
      </p:sp>
      <p:cxnSp>
        <p:nvCxnSpPr>
          <p:cNvPr id="6" name="직선 연결선 5"/>
          <p:cNvCxnSpPr/>
          <p:nvPr/>
        </p:nvCxnSpPr>
        <p:spPr>
          <a:xfrm>
            <a:off x="179512" y="1556792"/>
            <a:ext cx="446400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25"/>
          <p:cNvSpPr txBox="1">
            <a:spLocks noChangeArrowheads="1"/>
          </p:cNvSpPr>
          <p:nvPr/>
        </p:nvSpPr>
        <p:spPr bwMode="auto">
          <a:xfrm>
            <a:off x="179512" y="1685074"/>
            <a:ext cx="2448272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42900" indent="-342900" algn="ctr"/>
            <a:r>
              <a:rPr lang="en-US" altLang="ko-KR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□ </a:t>
            </a:r>
            <a:r>
              <a:rPr lang="en-US" altLang="ko-KR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배달의민족 한나" pitchFamily="2" charset="-127"/>
                <a:ea typeface="배달의민족 한나" pitchFamily="2" charset="-127"/>
              </a:rPr>
              <a:t>Feeding Data </a:t>
            </a:r>
            <a:endParaRPr lang="ko-KR" altLang="en-US" sz="2400" dirty="0" smtClean="0">
              <a:solidFill>
                <a:schemeClr val="tx1">
                  <a:lumMod val="75000"/>
                  <a:lumOff val="25000"/>
                </a:schemeClr>
              </a:solidFill>
              <a:latin typeface="배달의민족 한나" pitchFamily="2" charset="-127"/>
              <a:ea typeface="배달의민족 한나" pitchFamily="2" charset="-127"/>
            </a:endParaRPr>
          </a:p>
        </p:txBody>
      </p:sp>
      <p:sp>
        <p:nvSpPr>
          <p:cNvPr id="21" name="TextBox 25"/>
          <p:cNvSpPr txBox="1">
            <a:spLocks noChangeArrowheads="1"/>
          </p:cNvSpPr>
          <p:nvPr/>
        </p:nvSpPr>
        <p:spPr bwMode="auto">
          <a:xfrm>
            <a:off x="827584" y="908720"/>
            <a:ext cx="4176464" cy="3103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t">
            <a:spAutoFit/>
          </a:bodyPr>
          <a:lstStyle/>
          <a:p>
            <a:pPr marL="342900" indent="-342900">
              <a:lnSpc>
                <a:spcPts val="1700"/>
              </a:lnSpc>
            </a:pPr>
            <a:r>
              <a:rPr lang="en-US" altLang="ko-KR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바른고딕" pitchFamily="50" charset="-127"/>
                <a:ea typeface="나눔바른고딕" pitchFamily="50" charset="-127"/>
              </a:rPr>
              <a:t>Overview</a:t>
            </a:r>
            <a:endParaRPr lang="en-US" altLang="ko-KR" sz="1400" dirty="0">
              <a:solidFill>
                <a:schemeClr val="tx1">
                  <a:lumMod val="65000"/>
                  <a:lumOff val="35000"/>
                </a:schemeClr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17" name="Rectangle 3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95536" y="2238148"/>
            <a:ext cx="8352928" cy="41143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72000" tIns="0" rIns="0" bIns="0"/>
          <a:lstStyle/>
          <a:p>
            <a:pPr marL="85725">
              <a:lnSpc>
                <a:spcPct val="150000"/>
              </a:lnSpc>
              <a:spcAft>
                <a:spcPct val="20000"/>
              </a:spcAft>
              <a:defRPr/>
            </a:pPr>
            <a:endParaRPr kumimoji="0" lang="en-US" altLang="ko-KR" sz="1600" b="1" kern="0" dirty="0">
              <a:ln>
                <a:solidFill>
                  <a:srgbClr val="383637"/>
                </a:solidFill>
              </a:ln>
              <a:latin typeface="+mn-ea"/>
              <a:ea typeface="+mn-ea"/>
            </a:endParaRPr>
          </a:p>
        </p:txBody>
      </p:sp>
      <p:pic>
        <p:nvPicPr>
          <p:cNvPr id="9" name="그림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4987" y="2310154"/>
            <a:ext cx="5534025" cy="3881095"/>
          </a:xfrm>
          <a:prstGeom prst="rect">
            <a:avLst/>
          </a:prstGeom>
        </p:spPr>
      </p:pic>
      <p:sp>
        <p:nvSpPr>
          <p:cNvPr id="10" name="TextBox 25"/>
          <p:cNvSpPr txBox="1">
            <a:spLocks noChangeArrowheads="1"/>
          </p:cNvSpPr>
          <p:nvPr/>
        </p:nvSpPr>
        <p:spPr bwMode="auto">
          <a:xfrm>
            <a:off x="755576" y="404664"/>
            <a:ext cx="3168352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42900" indent="-342900"/>
            <a:r>
              <a:rPr lang="ko-KR" altLang="en-US" sz="2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배달의민족 한나" pitchFamily="2" charset="-127"/>
                <a:ea typeface="배달의민족 한나" pitchFamily="2" charset="-127"/>
              </a:rPr>
              <a:t>음성 인식 모델</a:t>
            </a:r>
            <a:endParaRPr lang="en-US" altLang="ko-KR" sz="2800" dirty="0" smtClean="0">
              <a:solidFill>
                <a:srgbClr val="393738"/>
              </a:solidFill>
              <a:latin typeface="배달의민족 한나" pitchFamily="2" charset="-127"/>
              <a:ea typeface="배달의민족 한나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4782956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직선 연결선 3"/>
          <p:cNvCxnSpPr/>
          <p:nvPr/>
        </p:nvCxnSpPr>
        <p:spPr>
          <a:xfrm>
            <a:off x="179512" y="236354"/>
            <a:ext cx="446400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/>
          <p:cNvSpPr txBox="1">
            <a:spLocks noChangeArrowheads="1"/>
          </p:cNvSpPr>
          <p:nvPr/>
        </p:nvSpPr>
        <p:spPr bwMode="auto">
          <a:xfrm>
            <a:off x="35496" y="182250"/>
            <a:ext cx="2736304" cy="144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42900" indent="-342900"/>
            <a:r>
              <a:rPr lang="en-US" altLang="ko-KR" sz="8800" dirty="0">
                <a:solidFill>
                  <a:srgbClr val="393738"/>
                </a:solidFill>
                <a:latin typeface="나눔고딕 ExtraBold" pitchFamily="50" charset="-127"/>
                <a:ea typeface="나눔고딕 ExtraBold" pitchFamily="50" charset="-127"/>
              </a:rPr>
              <a:t>2</a:t>
            </a:r>
            <a:endParaRPr lang="en-US" altLang="ko-KR" sz="8800" dirty="0" smtClean="0">
              <a:solidFill>
                <a:srgbClr val="393738"/>
              </a:solidFill>
              <a:latin typeface="나눔고딕 ExtraBold" pitchFamily="50" charset="-127"/>
              <a:ea typeface="나눔고딕 ExtraBold" pitchFamily="50" charset="-127"/>
            </a:endParaRPr>
          </a:p>
        </p:txBody>
      </p:sp>
      <p:cxnSp>
        <p:nvCxnSpPr>
          <p:cNvPr id="6" name="직선 연결선 5"/>
          <p:cNvCxnSpPr/>
          <p:nvPr/>
        </p:nvCxnSpPr>
        <p:spPr>
          <a:xfrm>
            <a:off x="179512" y="1556792"/>
            <a:ext cx="446400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5"/>
          <p:cNvSpPr txBox="1">
            <a:spLocks noChangeArrowheads="1"/>
          </p:cNvSpPr>
          <p:nvPr/>
        </p:nvSpPr>
        <p:spPr bwMode="auto">
          <a:xfrm>
            <a:off x="827584" y="908720"/>
            <a:ext cx="4176464" cy="3103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t">
            <a:spAutoFit/>
          </a:bodyPr>
          <a:lstStyle/>
          <a:p>
            <a:pPr marL="342900" indent="-342900">
              <a:lnSpc>
                <a:spcPts val="1700"/>
              </a:lnSpc>
            </a:pPr>
            <a:r>
              <a:rPr lang="en-US" altLang="ko-KR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바른고딕" pitchFamily="50" charset="-127"/>
                <a:ea typeface="나눔바른고딕" pitchFamily="50" charset="-127"/>
              </a:rPr>
              <a:t>Overview</a:t>
            </a:r>
            <a:endParaRPr lang="en-US" altLang="ko-KR" sz="1400" dirty="0">
              <a:solidFill>
                <a:schemeClr val="tx1">
                  <a:lumMod val="65000"/>
                  <a:lumOff val="35000"/>
                </a:schemeClr>
              </a:solidFill>
              <a:latin typeface="나눔바른고딕" pitchFamily="50" charset="-127"/>
              <a:ea typeface="나눔바른고딕" pitchFamily="50" charset="-127"/>
            </a:endParaRPr>
          </a:p>
        </p:txBody>
      </p:sp>
      <p:sp>
        <p:nvSpPr>
          <p:cNvPr id="17" name="Rectangle 3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95536" y="2238148"/>
            <a:ext cx="8352928" cy="41143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72000" tIns="0" rIns="0" bIns="0"/>
          <a:lstStyle/>
          <a:p>
            <a:pPr marL="85725">
              <a:lnSpc>
                <a:spcPct val="150000"/>
              </a:lnSpc>
              <a:spcAft>
                <a:spcPct val="20000"/>
              </a:spcAft>
              <a:defRPr/>
            </a:pPr>
            <a:endParaRPr kumimoji="0" lang="en-US" altLang="ko-KR" sz="1600" b="1" kern="0" dirty="0">
              <a:ln>
                <a:solidFill>
                  <a:srgbClr val="383637"/>
                </a:solidFill>
              </a:ln>
              <a:latin typeface="+mn-ea"/>
              <a:ea typeface="+mn-ea"/>
            </a:endParaRPr>
          </a:p>
        </p:txBody>
      </p:sp>
      <p:pic>
        <p:nvPicPr>
          <p:cNvPr id="3" name="그림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256" y="2203012"/>
            <a:ext cx="8903488" cy="2697757"/>
          </a:xfrm>
          <a:prstGeom prst="rect">
            <a:avLst/>
          </a:prstGeom>
        </p:spPr>
      </p:pic>
      <p:sp>
        <p:nvSpPr>
          <p:cNvPr id="13" name="TextBox 25"/>
          <p:cNvSpPr txBox="1">
            <a:spLocks noChangeArrowheads="1"/>
          </p:cNvSpPr>
          <p:nvPr/>
        </p:nvSpPr>
        <p:spPr bwMode="auto">
          <a:xfrm>
            <a:off x="179512" y="1685074"/>
            <a:ext cx="2448272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42900" indent="-342900" algn="ctr"/>
            <a:r>
              <a:rPr lang="en-US" altLang="ko-KR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□ </a:t>
            </a:r>
            <a:r>
              <a:rPr lang="en-US" altLang="ko-KR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배달의민족 한나" pitchFamily="2" charset="-127"/>
                <a:ea typeface="배달의민족 한나" pitchFamily="2" charset="-127"/>
              </a:rPr>
              <a:t>Feeding Data </a:t>
            </a:r>
            <a:endParaRPr lang="ko-KR" altLang="en-US" sz="2400" dirty="0" smtClean="0">
              <a:solidFill>
                <a:schemeClr val="tx1">
                  <a:lumMod val="75000"/>
                  <a:lumOff val="25000"/>
                </a:schemeClr>
              </a:solidFill>
              <a:latin typeface="배달의민족 한나" pitchFamily="2" charset="-127"/>
              <a:ea typeface="배달의민족 한나" pitchFamily="2" charset="-127"/>
            </a:endParaRPr>
          </a:p>
        </p:txBody>
      </p:sp>
      <p:grpSp>
        <p:nvGrpSpPr>
          <p:cNvPr id="11" name="그룹 10"/>
          <p:cNvGrpSpPr/>
          <p:nvPr/>
        </p:nvGrpSpPr>
        <p:grpSpPr>
          <a:xfrm>
            <a:off x="125512" y="5008781"/>
            <a:ext cx="8892976" cy="1300546"/>
            <a:chOff x="125512" y="5008781"/>
            <a:chExt cx="8892976" cy="1300546"/>
          </a:xfrm>
        </p:grpSpPr>
        <p:pic>
          <p:nvPicPr>
            <p:cNvPr id="7" name="그림 6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5512" y="5749070"/>
              <a:ext cx="8892976" cy="560257"/>
            </a:xfrm>
            <a:prstGeom prst="rect">
              <a:avLst/>
            </a:prstGeom>
          </p:spPr>
        </p:pic>
        <p:sp>
          <p:nvSpPr>
            <p:cNvPr id="10" name="아래쪽 화살표 9"/>
            <p:cNvSpPr/>
            <p:nvPr/>
          </p:nvSpPr>
          <p:spPr>
            <a:xfrm>
              <a:off x="4283968" y="5008781"/>
              <a:ext cx="288032" cy="508452"/>
            </a:xfrm>
            <a:prstGeom prst="downArrow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n>
                  <a:solidFill>
                    <a:srgbClr val="FF0000"/>
                  </a:solidFill>
                </a:ln>
                <a:solidFill>
                  <a:srgbClr val="FF0000"/>
                </a:solidFill>
              </a:endParaRPr>
            </a:p>
          </p:txBody>
        </p:sp>
      </p:grpSp>
      <p:sp>
        <p:nvSpPr>
          <p:cNvPr id="14" name="TextBox 25"/>
          <p:cNvSpPr txBox="1">
            <a:spLocks noChangeArrowheads="1"/>
          </p:cNvSpPr>
          <p:nvPr/>
        </p:nvSpPr>
        <p:spPr bwMode="auto">
          <a:xfrm>
            <a:off x="755576" y="404664"/>
            <a:ext cx="3168352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42900" indent="-342900"/>
            <a:r>
              <a:rPr lang="ko-KR" altLang="en-US" sz="2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배달의민족 한나" pitchFamily="2" charset="-127"/>
                <a:ea typeface="배달의민족 한나" pitchFamily="2" charset="-127"/>
              </a:rPr>
              <a:t>음성 인식 모델</a:t>
            </a:r>
            <a:endParaRPr lang="en-US" altLang="ko-KR" sz="2800" dirty="0" smtClean="0">
              <a:solidFill>
                <a:srgbClr val="393738"/>
              </a:solidFill>
              <a:latin typeface="배달의민족 한나" pitchFamily="2" charset="-127"/>
              <a:ea typeface="배달의민족 한나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8470732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cdPY3Ed3k6C6rEUJSUWt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cdPY3Ed3k6C6rEUJSUWt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cdPY3Ed3k6C6rEUJSUWt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cdPY3Ed3k6C6rEUJSUWt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cdPY3Ed3k6C6rEUJSUWt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cdPY3Ed3k6C6rEUJSUWt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cdPY3Ed3k6C6rEUJSUWt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cdPY3Ed3k6C6rEUJSUWt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cdPY3Ed3k6C6rEUJSUWt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cdPY3Ed3k6C6rEUJSUWt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cdPY3Ed3k6C6rEUJSUWt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cdPY3Ed3k6C6rEUJSUWt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cdPY3Ed3k6C6rEUJSUWt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cdPY3Ed3k6C6rEUJSUWt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cdPY3Ed3k6C6rEUJSUWt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cdPY3Ed3k6C6rEUJSUWtw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2055</TotalTime>
  <Words>480</Words>
  <Application>Microsoft Office PowerPoint</Application>
  <PresentationFormat>화면 슬라이드 쇼(4:3)</PresentationFormat>
  <Paragraphs>144</Paragraphs>
  <Slides>20</Slides>
  <Notes>2</Notes>
  <HiddenSlides>0</HiddenSlides>
  <MMClips>0</MMClips>
  <ScaleCrop>false</ScaleCrop>
  <HeadingPairs>
    <vt:vector size="6" baseType="variant">
      <vt:variant>
        <vt:lpstr>사용한 글꼴</vt:lpstr>
      </vt:variant>
      <vt:variant>
        <vt:i4>7</vt:i4>
      </vt:variant>
      <vt:variant>
        <vt:lpstr>테마</vt:lpstr>
      </vt:variant>
      <vt:variant>
        <vt:i4>1</vt:i4>
      </vt:variant>
      <vt:variant>
        <vt:lpstr>슬라이드 제목</vt:lpstr>
      </vt:variant>
      <vt:variant>
        <vt:i4>20</vt:i4>
      </vt:variant>
    </vt:vector>
  </HeadingPairs>
  <TitlesOfParts>
    <vt:vector size="28" baseType="lpstr">
      <vt:lpstr>배달의민족 한나</vt:lpstr>
      <vt:lpstr>맑은 고딕</vt:lpstr>
      <vt:lpstr>나눔고딕</vt:lpstr>
      <vt:lpstr>Arial</vt:lpstr>
      <vt:lpstr>나눔바른고딕</vt:lpstr>
      <vt:lpstr>나눔고딕 ExtraBold</vt:lpstr>
      <vt:lpstr>medium-content-serif-font</vt:lpstr>
      <vt:lpstr>Office 테마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슬라이드 1</dc:title>
  <dc:creator>NSM</dc:creator>
  <cp:lastModifiedBy>Hyuk Kim</cp:lastModifiedBy>
  <cp:revision>264</cp:revision>
  <dcterms:created xsi:type="dcterms:W3CDTF">2014-05-20T10:28:59Z</dcterms:created>
  <dcterms:modified xsi:type="dcterms:W3CDTF">2017-10-30T09:56:40Z</dcterms:modified>
</cp:coreProperties>
</file>